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05" r:id="rId5"/>
  </p:sldMasterIdLst>
  <p:notesMasterIdLst>
    <p:notesMasterId r:id="rId13"/>
  </p:notesMasterIdLst>
  <p:handoutMasterIdLst>
    <p:handoutMasterId r:id="rId14"/>
  </p:handoutMasterIdLst>
  <p:sldIdLst>
    <p:sldId id="256" r:id="rId6"/>
    <p:sldId id="257" r:id="rId7"/>
    <p:sldId id="258" r:id="rId8"/>
    <p:sldId id="260" r:id="rId9"/>
    <p:sldId id="259" r:id="rId10"/>
    <p:sldId id="261" r:id="rId11"/>
    <p:sldId id="262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65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30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95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60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825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90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155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320" algn="l" defTabSz="91433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re Slides" id="{EC7B65D8-FAC7-A84F-9A3B-F5E53BA28592}">
          <p14:sldIdLst>
            <p14:sldId id="256"/>
            <p14:sldId id="257"/>
            <p14:sldId id="258"/>
            <p14:sldId id="260"/>
            <p14:sldId id="259"/>
            <p14:sldId id="261"/>
            <p14:sldId id="262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F5F6"/>
    <a:srgbClr val="F0F0F0"/>
    <a:srgbClr val="898989"/>
    <a:srgbClr val="005CBE"/>
    <a:srgbClr val="FFFFFF"/>
    <a:srgbClr val="000000"/>
    <a:srgbClr val="2626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B028EC8-FA64-430C-97F9-F0AF1A712720}" v="78" dt="2021-11-10T18:26:53.40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165" autoAdjust="0"/>
  </p:normalViewPr>
  <p:slideViewPr>
    <p:cSldViewPr snapToGrid="0" snapToObjects="1" showGuides="1">
      <p:cViewPr varScale="1">
        <p:scale>
          <a:sx n="86" d="100"/>
          <a:sy n="86" d="100"/>
        </p:scale>
        <p:origin x="562" y="5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35512"/>
    </p:cViewPr>
  </p:sorterViewPr>
  <p:notesViewPr>
    <p:cSldViewPr snapToGrid="0" snapToObjects="1" showGuides="1">
      <p:cViewPr varScale="1">
        <p:scale>
          <a:sx n="97" d="100"/>
          <a:sy n="97" d="100"/>
        </p:scale>
        <p:origin x="3120" y="20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nda Nilsson" userId="dd5b3ee0-cda6-4820-935e-84ffbe132c14" providerId="ADAL" clId="{3B028EC8-FA64-430C-97F9-F0AF1A712720}"/>
    <pc:docChg chg="undo custSel addSld delSld modSld modSection replTag">
      <pc:chgData name="Linda Nilsson" userId="dd5b3ee0-cda6-4820-935e-84ffbe132c14" providerId="ADAL" clId="{3B028EC8-FA64-430C-97F9-F0AF1A712720}" dt="2021-11-15T20:35:00.760" v="1141" actId="20577"/>
      <pc:docMkLst>
        <pc:docMk/>
      </pc:docMkLst>
      <pc:sldChg chg="modSp mod">
        <pc:chgData name="Linda Nilsson" userId="dd5b3ee0-cda6-4820-935e-84ffbe132c14" providerId="ADAL" clId="{3B028EC8-FA64-430C-97F9-F0AF1A712720}" dt="2021-11-15T20:22:03.482" v="880" actId="20577"/>
        <pc:sldMkLst>
          <pc:docMk/>
          <pc:sldMk cId="274586136" sldId="257"/>
        </pc:sldMkLst>
        <pc:spChg chg="mod">
          <ac:chgData name="Linda Nilsson" userId="dd5b3ee0-cda6-4820-935e-84ffbe132c14" providerId="ADAL" clId="{3B028EC8-FA64-430C-97F9-F0AF1A712720}" dt="2021-11-15T20:22:03.482" v="880" actId="20577"/>
          <ac:spMkLst>
            <pc:docMk/>
            <pc:sldMk cId="274586136" sldId="257"/>
            <ac:spMk id="2" creationId="{EC13A05C-1F3E-4E4A-8C5B-27B7A54078DA}"/>
          </ac:spMkLst>
        </pc:spChg>
      </pc:sldChg>
      <pc:sldChg chg="modSp mod">
        <pc:chgData name="Linda Nilsson" userId="dd5b3ee0-cda6-4820-935e-84ffbe132c14" providerId="ADAL" clId="{3B028EC8-FA64-430C-97F9-F0AF1A712720}" dt="2021-11-15T20:35:00.760" v="1141" actId="20577"/>
        <pc:sldMkLst>
          <pc:docMk/>
          <pc:sldMk cId="3537025375" sldId="259"/>
        </pc:sldMkLst>
        <pc:spChg chg="mod">
          <ac:chgData name="Linda Nilsson" userId="dd5b3ee0-cda6-4820-935e-84ffbe132c14" providerId="ADAL" clId="{3B028EC8-FA64-430C-97F9-F0AF1A712720}" dt="2021-11-15T20:35:00.760" v="1141" actId="20577"/>
          <ac:spMkLst>
            <pc:docMk/>
            <pc:sldMk cId="3537025375" sldId="259"/>
            <ac:spMk id="2" creationId="{EC13A05C-1F3E-4E4A-8C5B-27B7A54078DA}"/>
          </ac:spMkLst>
        </pc:spChg>
      </pc:sldChg>
      <pc:sldChg chg="addSp delSp modSp mod">
        <pc:chgData name="Linda Nilsson" userId="dd5b3ee0-cda6-4820-935e-84ffbe132c14" providerId="ADAL" clId="{3B028EC8-FA64-430C-97F9-F0AF1A712720}" dt="2021-11-15T20:33:46.741" v="1014" actId="113"/>
        <pc:sldMkLst>
          <pc:docMk/>
          <pc:sldMk cId="3984406770" sldId="260"/>
        </pc:sldMkLst>
        <pc:spChg chg="add del mod">
          <ac:chgData name="Linda Nilsson" userId="dd5b3ee0-cda6-4820-935e-84ffbe132c14" providerId="ADAL" clId="{3B028EC8-FA64-430C-97F9-F0AF1A712720}" dt="2021-11-15T20:29:34.086" v="948" actId="478"/>
          <ac:spMkLst>
            <pc:docMk/>
            <pc:sldMk cId="3984406770" sldId="260"/>
            <ac:spMk id="8" creationId="{4965E1CF-472C-4DA9-8567-1C868A47EA48}"/>
          </ac:spMkLst>
        </pc:spChg>
        <pc:spChg chg="add mod">
          <ac:chgData name="Linda Nilsson" userId="dd5b3ee0-cda6-4820-935e-84ffbe132c14" providerId="ADAL" clId="{3B028EC8-FA64-430C-97F9-F0AF1A712720}" dt="2021-11-15T20:33:46.741" v="1014" actId="113"/>
          <ac:spMkLst>
            <pc:docMk/>
            <pc:sldMk cId="3984406770" sldId="260"/>
            <ac:spMk id="9" creationId="{2C514340-9B12-4E79-9BD5-5DEFC46F749B}"/>
          </ac:spMkLst>
        </pc:spChg>
        <pc:picChg chg="add mod">
          <ac:chgData name="Linda Nilsson" userId="dd5b3ee0-cda6-4820-935e-84ffbe132c14" providerId="ADAL" clId="{3B028EC8-FA64-430C-97F9-F0AF1A712720}" dt="2021-11-15T20:29:20.708" v="945" actId="1076"/>
          <ac:picMkLst>
            <pc:docMk/>
            <pc:sldMk cId="3984406770" sldId="260"/>
            <ac:picMk id="4" creationId="{B49084F6-E705-4624-8F34-47720BA49E27}"/>
          </ac:picMkLst>
        </pc:picChg>
        <pc:picChg chg="del">
          <ac:chgData name="Linda Nilsson" userId="dd5b3ee0-cda6-4820-935e-84ffbe132c14" providerId="ADAL" clId="{3B028EC8-FA64-430C-97F9-F0AF1A712720}" dt="2021-11-15T20:27:33.260" v="881" actId="478"/>
          <ac:picMkLst>
            <pc:docMk/>
            <pc:sldMk cId="3984406770" sldId="260"/>
            <ac:picMk id="6" creationId="{67C7BBC8-347B-4B20-9AAE-A983ACD67079}"/>
          </ac:picMkLst>
        </pc:picChg>
        <pc:picChg chg="add del mod">
          <ac:chgData name="Linda Nilsson" userId="dd5b3ee0-cda6-4820-935e-84ffbe132c14" providerId="ADAL" clId="{3B028EC8-FA64-430C-97F9-F0AF1A712720}" dt="2021-11-15T20:32:05.229" v="995"/>
          <ac:picMkLst>
            <pc:docMk/>
            <pc:sldMk cId="3984406770" sldId="260"/>
            <ac:picMk id="10" creationId="{9C77A6A8-C0A0-4040-9DDB-DA4E7DCBF720}"/>
          </ac:picMkLst>
        </pc:picChg>
      </pc:sldChg>
      <pc:sldChg chg="modSp add mod">
        <pc:chgData name="Linda Nilsson" userId="dd5b3ee0-cda6-4820-935e-84ffbe132c14" providerId="ADAL" clId="{3B028EC8-FA64-430C-97F9-F0AF1A712720}" dt="2021-11-15T20:19:56.923" v="753" actId="20577"/>
        <pc:sldMkLst>
          <pc:docMk/>
          <pc:sldMk cId="1362260323" sldId="261"/>
        </pc:sldMkLst>
        <pc:spChg chg="mod">
          <ac:chgData name="Linda Nilsson" userId="dd5b3ee0-cda6-4820-935e-84ffbe132c14" providerId="ADAL" clId="{3B028EC8-FA64-430C-97F9-F0AF1A712720}" dt="2021-11-15T20:19:56.923" v="753" actId="20577"/>
          <ac:spMkLst>
            <pc:docMk/>
            <pc:sldMk cId="1362260323" sldId="261"/>
            <ac:spMk id="2" creationId="{EC13A05C-1F3E-4E4A-8C5B-27B7A54078DA}"/>
          </ac:spMkLst>
        </pc:spChg>
        <pc:spChg chg="mod">
          <ac:chgData name="Linda Nilsson" userId="dd5b3ee0-cda6-4820-935e-84ffbe132c14" providerId="ADAL" clId="{3B028EC8-FA64-430C-97F9-F0AF1A712720}" dt="2021-11-10T18:14:03.918" v="25" actId="20577"/>
          <ac:spMkLst>
            <pc:docMk/>
            <pc:sldMk cId="1362260323" sldId="261"/>
            <ac:spMk id="7" creationId="{C1C47984-2584-4E7C-A8E7-04A758A6B41C}"/>
          </ac:spMkLst>
        </pc:spChg>
      </pc:sldChg>
      <pc:sldChg chg="addSp delSp modSp new add mod">
        <pc:chgData name="Linda Nilsson" userId="dd5b3ee0-cda6-4820-935e-84ffbe132c14" providerId="ADAL" clId="{3B028EC8-FA64-430C-97F9-F0AF1A712720}" dt="2021-11-15T20:21:41.809" v="866" actId="20577"/>
        <pc:sldMkLst>
          <pc:docMk/>
          <pc:sldMk cId="1745021521" sldId="262"/>
        </pc:sldMkLst>
        <pc:spChg chg="add mod">
          <ac:chgData name="Linda Nilsson" userId="dd5b3ee0-cda6-4820-935e-84ffbe132c14" providerId="ADAL" clId="{3B028EC8-FA64-430C-97F9-F0AF1A712720}" dt="2021-11-15T20:21:41.809" v="866" actId="20577"/>
          <ac:spMkLst>
            <pc:docMk/>
            <pc:sldMk cId="1745021521" sldId="262"/>
            <ac:spMk id="3" creationId="{2C2B9BC4-F72D-4D43-963A-D578C6C5032E}"/>
          </ac:spMkLst>
        </pc:spChg>
        <pc:spChg chg="del">
          <ac:chgData name="Linda Nilsson" userId="dd5b3ee0-cda6-4820-935e-84ffbe132c14" providerId="ADAL" clId="{3B028EC8-FA64-430C-97F9-F0AF1A712720}" dt="2021-11-10T18:22:15.925" v="79" actId="478"/>
          <ac:spMkLst>
            <pc:docMk/>
            <pc:sldMk cId="1745021521" sldId="262"/>
            <ac:spMk id="3" creationId="{973BB8EB-EB21-4B39-916B-BE38C93105AF}"/>
          </ac:spMkLst>
        </pc:spChg>
        <pc:spChg chg="del">
          <ac:chgData name="Linda Nilsson" userId="dd5b3ee0-cda6-4820-935e-84ffbe132c14" providerId="ADAL" clId="{3B028EC8-FA64-430C-97F9-F0AF1A712720}" dt="2021-11-10T18:22:14.180" v="78" actId="478"/>
          <ac:spMkLst>
            <pc:docMk/>
            <pc:sldMk cId="1745021521" sldId="262"/>
            <ac:spMk id="4" creationId="{90C2CE32-A56E-4DD3-A98A-29F31491655E}"/>
          </ac:spMkLst>
        </pc:spChg>
        <pc:graphicFrameChg chg="add mod ord modVis replST">
          <ac:chgData name="Linda Nilsson" userId="dd5b3ee0-cda6-4820-935e-84ffbe132c14" providerId="ADAL" clId="{3B028EC8-FA64-430C-97F9-F0AF1A712720}" dt="2021-11-10T18:22:16.463" v="96"/>
          <ac:graphicFrameMkLst>
            <pc:docMk/>
            <pc:sldMk cId="1745021521" sldId="262"/>
            <ac:graphicFrameMk id="5" creationId="{0A8CE972-0705-4981-9E6C-C2883EF1A5AA}"/>
          </ac:graphicFrameMkLst>
        </pc:graphicFrameChg>
        <pc:picChg chg="add mod">
          <ac:chgData name="Linda Nilsson" userId="dd5b3ee0-cda6-4820-935e-84ffbe132c14" providerId="ADAL" clId="{3B028EC8-FA64-430C-97F9-F0AF1A712720}" dt="2021-11-10T18:23:52.983" v="100" actId="1036"/>
          <ac:picMkLst>
            <pc:docMk/>
            <pc:sldMk cId="1745021521" sldId="262"/>
            <ac:picMk id="6" creationId="{F8E0476E-E426-47F3-86F1-FFD4F15E8CDE}"/>
          </ac:picMkLst>
        </pc:picChg>
      </pc:sldChg>
      <pc:sldChg chg="addSp delSp modSp new add del mod modClrScheme chgLayout">
        <pc:chgData name="Linda Nilsson" userId="dd5b3ee0-cda6-4820-935e-84ffbe132c14" providerId="ADAL" clId="{3B028EC8-FA64-430C-97F9-F0AF1A712720}" dt="2021-11-15T20:31:41.568" v="989" actId="47"/>
        <pc:sldMkLst>
          <pc:docMk/>
          <pc:sldMk cId="97027807" sldId="263"/>
        </pc:sldMkLst>
        <pc:spChg chg="del">
          <ac:chgData name="Linda Nilsson" userId="dd5b3ee0-cda6-4820-935e-84ffbe132c14" providerId="ADAL" clId="{3B028EC8-FA64-430C-97F9-F0AF1A712720}" dt="2021-11-15T20:30:44.598" v="955" actId="931"/>
          <ac:spMkLst>
            <pc:docMk/>
            <pc:sldMk cId="97027807" sldId="263"/>
            <ac:spMk id="2" creationId="{76AE19AC-1966-418C-972C-9F2852EDCCE4}"/>
          </ac:spMkLst>
        </pc:spChg>
        <pc:spChg chg="del mod">
          <ac:chgData name="Linda Nilsson" userId="dd5b3ee0-cda6-4820-935e-84ffbe132c14" providerId="ADAL" clId="{3B028EC8-FA64-430C-97F9-F0AF1A712720}" dt="2021-11-15T20:31:12.246" v="959" actId="26606"/>
          <ac:spMkLst>
            <pc:docMk/>
            <pc:sldMk cId="97027807" sldId="263"/>
            <ac:spMk id="3" creationId="{CE72678E-35B5-48C8-9934-D429E622BBDB}"/>
          </ac:spMkLst>
        </pc:spChg>
        <pc:spChg chg="mod">
          <ac:chgData name="Linda Nilsson" userId="dd5b3ee0-cda6-4820-935e-84ffbe132c14" providerId="ADAL" clId="{3B028EC8-FA64-430C-97F9-F0AF1A712720}" dt="2021-11-15T20:31:12.246" v="959" actId="26606"/>
          <ac:spMkLst>
            <pc:docMk/>
            <pc:sldMk cId="97027807" sldId="263"/>
            <ac:spMk id="4" creationId="{8823F3CB-40B1-4095-8D1B-67C9E4075B2F}"/>
          </ac:spMkLst>
        </pc:spChg>
        <pc:spChg chg="del">
          <ac:chgData name="Linda Nilsson" userId="dd5b3ee0-cda6-4820-935e-84ffbe132c14" providerId="ADAL" clId="{3B028EC8-FA64-430C-97F9-F0AF1A712720}" dt="2021-11-15T20:31:12.246" v="959" actId="26606"/>
          <ac:spMkLst>
            <pc:docMk/>
            <pc:sldMk cId="97027807" sldId="263"/>
            <ac:spMk id="5" creationId="{A12A5AC3-42CB-4691-92DE-6F8968C1A309}"/>
          </ac:spMkLst>
        </pc:spChg>
        <pc:spChg chg="del">
          <ac:chgData name="Linda Nilsson" userId="dd5b3ee0-cda6-4820-935e-84ffbe132c14" providerId="ADAL" clId="{3B028EC8-FA64-430C-97F9-F0AF1A712720}" dt="2021-11-15T20:31:12.246" v="959" actId="26606"/>
          <ac:spMkLst>
            <pc:docMk/>
            <pc:sldMk cId="97027807" sldId="263"/>
            <ac:spMk id="6" creationId="{E7F5E4C8-A3BA-431F-968E-7371B07EE95E}"/>
          </ac:spMkLst>
        </pc:spChg>
        <pc:spChg chg="add mod">
          <ac:chgData name="Linda Nilsson" userId="dd5b3ee0-cda6-4820-935e-84ffbe132c14" providerId="ADAL" clId="{3B028EC8-FA64-430C-97F9-F0AF1A712720}" dt="2021-11-15T20:31:12.246" v="959" actId="26606"/>
          <ac:spMkLst>
            <pc:docMk/>
            <pc:sldMk cId="97027807" sldId="263"/>
            <ac:spMk id="14" creationId="{ECEE7862-3140-4A8A-8865-4F99BB9A3ADC}"/>
          </ac:spMkLst>
        </pc:spChg>
        <pc:spChg chg="add del mod">
          <ac:chgData name="Linda Nilsson" userId="dd5b3ee0-cda6-4820-935e-84ffbe132c14" providerId="ADAL" clId="{3B028EC8-FA64-430C-97F9-F0AF1A712720}" dt="2021-11-15T20:31:36.245" v="978" actId="478"/>
          <ac:spMkLst>
            <pc:docMk/>
            <pc:sldMk cId="97027807" sldId="263"/>
            <ac:spMk id="16" creationId="{637E7585-A259-4C07-BA89-9B8E2660E34F}"/>
          </ac:spMkLst>
        </pc:spChg>
        <pc:graphicFrameChg chg="add mod ord modVis replST delST">
          <ac:chgData name="Linda Nilsson" userId="dd5b3ee0-cda6-4820-935e-84ffbe132c14" providerId="ADAL" clId="{3B028EC8-FA64-430C-97F9-F0AF1A712720}" dt="2021-11-15T20:31:36.871" v="986" actId="14100"/>
          <ac:graphicFrameMkLst>
            <pc:docMk/>
            <pc:sldMk cId="97027807" sldId="263"/>
            <ac:graphicFrameMk id="10" creationId="{1B32A8AF-D22A-426F-B8B5-C41C798A15ED}"/>
          </ac:graphicFrameMkLst>
        </pc:graphicFrameChg>
        <pc:picChg chg="add del mod">
          <ac:chgData name="Linda Nilsson" userId="dd5b3ee0-cda6-4820-935e-84ffbe132c14" providerId="ADAL" clId="{3B028EC8-FA64-430C-97F9-F0AF1A712720}" dt="2021-11-15T20:30:32.434" v="954" actId="478"/>
          <ac:picMkLst>
            <pc:docMk/>
            <pc:sldMk cId="97027807" sldId="263"/>
            <ac:picMk id="7" creationId="{B6C1936B-F0DD-410C-AA2D-EC66E26036AE}"/>
          </ac:picMkLst>
        </pc:picChg>
        <pc:picChg chg="add mod modCrop">
          <ac:chgData name="Linda Nilsson" userId="dd5b3ee0-cda6-4820-935e-84ffbe132c14" providerId="ADAL" clId="{3B028EC8-FA64-430C-97F9-F0AF1A712720}" dt="2021-11-15T20:31:36.872" v="988" actId="18131"/>
          <ac:picMkLst>
            <pc:docMk/>
            <pc:sldMk cId="97027807" sldId="263"/>
            <ac:picMk id="9" creationId="{84E4D59E-467C-4A5D-A8D7-16D7AF8A1099}"/>
          </ac:picMkLst>
        </pc:picChg>
      </pc:sldChg>
      <pc:sldChg chg="new add del">
        <pc:chgData name="Linda Nilsson" userId="dd5b3ee0-cda6-4820-935e-84ffbe132c14" providerId="ADAL" clId="{3B028EC8-FA64-430C-97F9-F0AF1A712720}" dt="2021-11-15T20:31:50.513" v="992" actId="680"/>
        <pc:sldMkLst>
          <pc:docMk/>
          <pc:sldMk cId="1505207065" sldId="263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018781-FBF9-354C-A025-C49C596164BA}" type="datetimeFigureOut">
              <a:rPr lang="en-US" smtClean="0"/>
              <a:t>11/15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F4EF74-8826-BD43-B880-7A8566D08A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40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8FFD40-13C9-7B48-A0BE-E251E1E33FE5}" type="datetimeFigureOut">
              <a:rPr lang="en-US" smtClean="0"/>
              <a:t>11/15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8E2375-F1B1-284C-A827-B0E603FDBD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4442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040528C8-F3EF-074B-A984-08666606B514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E1B56D1-5FED-2E43-94C6-A2B0E4D2E852}"/>
              </a:ext>
            </a:extLst>
          </p:cNvPr>
          <p:cNvSpPr/>
          <p:nvPr userDrawn="1"/>
        </p:nvSpPr>
        <p:spPr>
          <a:xfrm>
            <a:off x="0" y="3718560"/>
            <a:ext cx="12192000" cy="31394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35279" y="4784328"/>
            <a:ext cx="11551919" cy="871055"/>
          </a:xfrm>
          <a:prstGeom prst="rect">
            <a:avLst/>
          </a:prstGeom>
        </p:spPr>
        <p:txBody>
          <a:bodyPr anchor="b"/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79C1D59-BA6C-264B-9774-491332853F9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5279" y="5712079"/>
            <a:ext cx="11551919" cy="66740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tabLst>
                <a:tab pos="504825" algn="l"/>
              </a:tabLst>
              <a:defRPr sz="1400" b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b="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b="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b="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b="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 dirty="0"/>
              <a:t>Subtitle Placeholde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54AD844-DD51-724E-95F1-4F651718FC94}"/>
              </a:ext>
            </a:extLst>
          </p:cNvPr>
          <p:cNvSpPr/>
          <p:nvPr userDrawn="1"/>
        </p:nvSpPr>
        <p:spPr>
          <a:xfrm>
            <a:off x="0" y="6492874"/>
            <a:ext cx="12192001" cy="365126"/>
          </a:xfrm>
          <a:prstGeom prst="rect">
            <a:avLst/>
          </a:prstGeom>
          <a:solidFill>
            <a:schemeClr val="tx2">
              <a:lumMod val="75000"/>
              <a:alpha val="45000"/>
            </a:schemeClr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9CCA7AEC-1D2E-8846-A9EC-FDED0B8E3D4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1"/>
            <a:ext cx="12192000" cy="371855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8BC43764-17DF-AD48-985E-0F0F99BEAC0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06696" y="6492873"/>
            <a:ext cx="6680502" cy="365126"/>
          </a:xfrm>
          <a:prstGeom prst="rect">
            <a:avLst/>
          </a:prstGeom>
        </p:spPr>
        <p:txBody>
          <a:bodyPr anchor="ctr"/>
          <a:lstStyle>
            <a:lvl1pPr marL="0" indent="0" algn="r">
              <a:tabLst>
                <a:tab pos="504825" algn="l"/>
              </a:tabLst>
              <a:defRPr sz="1200" b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b="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b="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b="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b="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 dirty="0"/>
              <a:t>Presenter’s Name   |   May 2021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3B44382-C073-834F-A218-62CEBBB450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7749" y="4204817"/>
            <a:ext cx="1938732" cy="579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3750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BBC5BD3-9425-5A45-A059-4297EC156E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A4B4A4E-06BC-4645-8246-48D6E5E9123F}"/>
              </a:ext>
            </a:extLst>
          </p:cNvPr>
          <p:cNvSpPr/>
          <p:nvPr userDrawn="1"/>
        </p:nvSpPr>
        <p:spPr>
          <a:xfrm>
            <a:off x="0" y="0"/>
            <a:ext cx="12192000" cy="11785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CCE8952-0848-D140-992A-F72DF78681F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CONFIDENTIAL</a:t>
            </a:r>
          </a:p>
        </p:txBody>
      </p:sp>
      <p:sp>
        <p:nvSpPr>
          <p:cNvPr id="10" name="Title Placeholder 3">
            <a:extLst>
              <a:ext uri="{FF2B5EF4-FFF2-40B4-BE49-F238E27FC236}">
                <a16:creationId xmlns:a16="http://schemas.microsoft.com/office/drawing/2014/main" id="{C238ADD8-007F-E94D-B635-B131EECD0F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11480800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004597A-A8CA-A143-8516-1678C376BD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281" y="599920"/>
            <a:ext cx="11480800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5FAF43EE-4EEB-C94C-A0A5-15344E22F4C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4963" y="1330007"/>
            <a:ext cx="5670725" cy="2441184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 marL="354013" indent="-171450">
              <a:buClr>
                <a:schemeClr val="tx1">
                  <a:lumMod val="75000"/>
                  <a:lumOff val="25000"/>
                </a:schemeClr>
              </a:buClr>
              <a:buFont typeface="System Font Regular"/>
              <a:buChar char="–"/>
              <a:tabLst/>
              <a:defRPr sz="1400"/>
            </a:lvl3pPr>
            <a:lvl4pPr marL="463550" indent="-109538">
              <a:buClr>
                <a:schemeClr val="bg1">
                  <a:lumMod val="75000"/>
                </a:schemeClr>
              </a:buClr>
              <a:buSzPct val="75000"/>
              <a:buFont typeface="Arial" panose="020B0604020202020204" pitchFamily="34" charset="0"/>
              <a:buChar char="•"/>
              <a:tabLst/>
              <a:defRPr sz="1400"/>
            </a:lvl4pPr>
            <a:lvl5pPr marL="573088" indent="-109538">
              <a:buClr>
                <a:schemeClr val="bg1">
                  <a:lumMod val="75000"/>
                </a:schemeClr>
              </a:buClr>
              <a:buSzPct val="75000"/>
              <a:tabLst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D385703B-96C8-9643-AF73-66087DB3A37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45355" y="1330007"/>
            <a:ext cx="5670725" cy="2441184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 marL="354013" indent="-171450">
              <a:buClr>
                <a:schemeClr val="tx1">
                  <a:lumMod val="75000"/>
                  <a:lumOff val="25000"/>
                </a:schemeClr>
              </a:buClr>
              <a:buFont typeface="System Font Regular"/>
              <a:buChar char="–"/>
              <a:tabLst/>
              <a:defRPr sz="1400"/>
            </a:lvl3pPr>
            <a:lvl4pPr marL="463550" indent="-109538">
              <a:buClr>
                <a:schemeClr val="bg1">
                  <a:lumMod val="75000"/>
                </a:schemeClr>
              </a:buClr>
              <a:buSzPct val="75000"/>
              <a:buFont typeface="Arial" panose="020B0604020202020204" pitchFamily="34" charset="0"/>
              <a:buChar char="•"/>
              <a:tabLst/>
              <a:defRPr sz="1400"/>
            </a:lvl4pPr>
            <a:lvl5pPr marL="573088" indent="-109538">
              <a:buClr>
                <a:schemeClr val="bg1">
                  <a:lumMod val="75000"/>
                </a:schemeClr>
              </a:buClr>
              <a:buSzPct val="75000"/>
              <a:tabLst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85B799BE-B8A0-684A-9503-7A27E3EE41F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4963" y="3920807"/>
            <a:ext cx="5670725" cy="2441184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 marL="354013" indent="-171450">
              <a:buClr>
                <a:schemeClr val="tx1">
                  <a:lumMod val="75000"/>
                  <a:lumOff val="25000"/>
                </a:schemeClr>
              </a:buClr>
              <a:buFont typeface="System Font Regular"/>
              <a:buChar char="–"/>
              <a:tabLst/>
              <a:defRPr sz="1400"/>
            </a:lvl3pPr>
            <a:lvl4pPr marL="463550" indent="-109538">
              <a:buClr>
                <a:schemeClr val="bg1">
                  <a:lumMod val="75000"/>
                </a:schemeClr>
              </a:buClr>
              <a:buSzPct val="75000"/>
              <a:buFont typeface="Arial" panose="020B0604020202020204" pitchFamily="34" charset="0"/>
              <a:buChar char="•"/>
              <a:tabLst/>
              <a:defRPr sz="1400"/>
            </a:lvl4pPr>
            <a:lvl5pPr marL="573088" indent="-109538">
              <a:buClr>
                <a:schemeClr val="bg1">
                  <a:lumMod val="75000"/>
                </a:schemeClr>
              </a:buClr>
              <a:buSzPct val="75000"/>
              <a:tabLst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84780279-B506-DD44-8050-85A5C1047EF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45355" y="3920807"/>
            <a:ext cx="5670725" cy="2441184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 marL="354013" indent="-171450">
              <a:buClr>
                <a:schemeClr val="tx1">
                  <a:lumMod val="75000"/>
                  <a:lumOff val="25000"/>
                </a:schemeClr>
              </a:buClr>
              <a:buFont typeface="System Font Regular"/>
              <a:buChar char="–"/>
              <a:tabLst/>
              <a:defRPr sz="1400"/>
            </a:lvl3pPr>
            <a:lvl4pPr marL="463550" indent="-109538">
              <a:buClr>
                <a:schemeClr val="bg1">
                  <a:lumMod val="75000"/>
                </a:schemeClr>
              </a:buClr>
              <a:buSzPct val="75000"/>
              <a:buFont typeface="Arial" panose="020B0604020202020204" pitchFamily="34" charset="0"/>
              <a:buChar char="•"/>
              <a:tabLst/>
              <a:defRPr sz="1400"/>
            </a:lvl4pPr>
            <a:lvl5pPr marL="573088" indent="-109538">
              <a:buClr>
                <a:schemeClr val="bg1">
                  <a:lumMod val="75000"/>
                </a:schemeClr>
              </a:buClr>
              <a:buSzPct val="75000"/>
              <a:tabLst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Slide Number Placeholder 24">
            <a:extLst>
              <a:ext uri="{FF2B5EF4-FFF2-40B4-BE49-F238E27FC236}">
                <a16:creationId xmlns:a16="http://schemas.microsoft.com/office/drawing/2014/main" id="{5043769E-9BF4-7C43-AE57-007D8D48410B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tx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tx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6F32832-37FC-CD47-9064-898047C907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24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2F0D254E-9987-B642-81CE-DE1732CD85E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D4F90D2-ED65-124A-9849-DF866ACE7C6B}"/>
              </a:ext>
            </a:extLst>
          </p:cNvPr>
          <p:cNvSpPr/>
          <p:nvPr userDrawn="1"/>
        </p:nvSpPr>
        <p:spPr>
          <a:xfrm>
            <a:off x="0" y="0"/>
            <a:ext cx="12192000" cy="11785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AACE28B-1EB8-5D4D-90E2-C0D0BD9BC1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279" y="1460638"/>
            <a:ext cx="2275831" cy="935071"/>
          </a:xfrm>
          <a:prstGeom prst="rect">
            <a:avLst/>
          </a:prstGeom>
        </p:spPr>
        <p:txBody>
          <a:bodyPr anchor="ctr"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140285B-93E3-E14A-9FC2-5D9E0ADD4C2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5279" y="2700334"/>
            <a:ext cx="2275831" cy="935071"/>
          </a:xfrm>
          <a:prstGeom prst="rect">
            <a:avLst/>
          </a:prstGeom>
        </p:spPr>
        <p:txBody>
          <a:bodyPr anchor="ctr"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58364953-A35C-7643-A3E4-8EA79678C12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5279" y="3954568"/>
            <a:ext cx="2275831" cy="935071"/>
          </a:xfrm>
          <a:prstGeom prst="rect">
            <a:avLst/>
          </a:prstGeom>
        </p:spPr>
        <p:txBody>
          <a:bodyPr anchor="ctr"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193B032-09D9-304A-8884-D25ADE6FBED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5279" y="5199343"/>
            <a:ext cx="2275831" cy="935071"/>
          </a:xfrm>
          <a:prstGeom prst="rect">
            <a:avLst/>
          </a:prstGeom>
        </p:spPr>
        <p:txBody>
          <a:bodyPr anchor="ctr"/>
          <a:lstStyle>
            <a:lvl1pPr>
              <a:defRPr sz="1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86035618-B45F-D74B-9EAE-6D68926D06D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932386" y="1460638"/>
            <a:ext cx="8883694" cy="935071"/>
          </a:xfrm>
          <a:prstGeom prst="rect">
            <a:avLst/>
          </a:prstGeom>
        </p:spPr>
        <p:txBody>
          <a:bodyPr anchor="ctr"/>
          <a:lstStyle>
            <a:lvl1pPr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C049CDB1-7AE1-E641-B57F-64AAD0497B4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932386" y="2700334"/>
            <a:ext cx="8883694" cy="935071"/>
          </a:xfrm>
          <a:prstGeom prst="rect">
            <a:avLst/>
          </a:prstGeom>
        </p:spPr>
        <p:txBody>
          <a:bodyPr anchor="ctr"/>
          <a:lstStyle>
            <a:lvl1pPr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394D2BD3-2092-954E-8A57-78B2A9A183A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932386" y="3954568"/>
            <a:ext cx="8883694" cy="935071"/>
          </a:xfrm>
          <a:prstGeom prst="rect">
            <a:avLst/>
          </a:prstGeom>
        </p:spPr>
        <p:txBody>
          <a:bodyPr anchor="ctr"/>
          <a:lstStyle>
            <a:lvl1pPr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D20E3B68-94E5-1645-BCD2-D408318CFFC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932386" y="5199343"/>
            <a:ext cx="8883694" cy="935071"/>
          </a:xfrm>
          <a:prstGeom prst="rect">
            <a:avLst/>
          </a:prstGeom>
        </p:spPr>
        <p:txBody>
          <a:bodyPr anchor="ctr"/>
          <a:lstStyle>
            <a:lvl1pPr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Footer Placeholder 1">
            <a:extLst>
              <a:ext uri="{FF2B5EF4-FFF2-40B4-BE49-F238E27FC236}">
                <a16:creationId xmlns:a16="http://schemas.microsoft.com/office/drawing/2014/main" id="{D8B01E4F-3F8F-7141-888F-88C2E4FD4F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1" y="6507948"/>
            <a:ext cx="5411790" cy="3500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5990EDA-8370-BC42-BA0A-FE0AD9CDEBA5}"/>
              </a:ext>
            </a:extLst>
          </p:cNvPr>
          <p:cNvCxnSpPr/>
          <p:nvPr userDrawn="1"/>
        </p:nvCxnSpPr>
        <p:spPr>
          <a:xfrm>
            <a:off x="2768425" y="1460638"/>
            <a:ext cx="0" cy="935071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35B2AD4-2BA5-C048-B3AF-11FADCB7BA16}"/>
              </a:ext>
            </a:extLst>
          </p:cNvPr>
          <p:cNvCxnSpPr/>
          <p:nvPr userDrawn="1"/>
        </p:nvCxnSpPr>
        <p:spPr>
          <a:xfrm>
            <a:off x="2768425" y="2697768"/>
            <a:ext cx="0" cy="935071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C92101A-879B-E14A-8D4C-A591649F164A}"/>
              </a:ext>
            </a:extLst>
          </p:cNvPr>
          <p:cNvCxnSpPr/>
          <p:nvPr userDrawn="1"/>
        </p:nvCxnSpPr>
        <p:spPr>
          <a:xfrm>
            <a:off x="2768425" y="3967170"/>
            <a:ext cx="0" cy="935071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0565336D-3358-044F-B4CA-6E774BD7629F}"/>
              </a:ext>
            </a:extLst>
          </p:cNvPr>
          <p:cNvCxnSpPr/>
          <p:nvPr userDrawn="1"/>
        </p:nvCxnSpPr>
        <p:spPr>
          <a:xfrm>
            <a:off x="2768425" y="5193542"/>
            <a:ext cx="0" cy="935071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itle Placeholder 3">
            <a:extLst>
              <a:ext uri="{FF2B5EF4-FFF2-40B4-BE49-F238E27FC236}">
                <a16:creationId xmlns:a16="http://schemas.microsoft.com/office/drawing/2014/main" id="{AFBDB2A9-8062-3A4F-A68A-5A8C401A75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11480800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DE12C86F-01E7-9C4A-B82B-8378A706860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5281" y="599920"/>
            <a:ext cx="11480800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Slide Number Placeholder 24">
            <a:extLst>
              <a:ext uri="{FF2B5EF4-FFF2-40B4-BE49-F238E27FC236}">
                <a16:creationId xmlns:a16="http://schemas.microsoft.com/office/drawing/2014/main" id="{DE65DB2B-4F25-804C-982A-A54AACA4F581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tx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tx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0A0E55DC-B311-914C-8540-BF327F7A69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415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F6F0FD8-7228-A24A-B994-9ABF032EBFE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6645475-64A0-3A4C-B5E5-16EAB44CEB8A}"/>
              </a:ext>
            </a:extLst>
          </p:cNvPr>
          <p:cNvSpPr/>
          <p:nvPr userDrawn="1"/>
        </p:nvSpPr>
        <p:spPr>
          <a:xfrm>
            <a:off x="0" y="0"/>
            <a:ext cx="12192000" cy="11785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26D8AB7-EC21-2F4E-A738-720E33D44958}"/>
              </a:ext>
            </a:extLst>
          </p:cNvPr>
          <p:cNvSpPr/>
          <p:nvPr userDrawn="1"/>
        </p:nvSpPr>
        <p:spPr>
          <a:xfrm>
            <a:off x="6096000" y="3973552"/>
            <a:ext cx="6096000" cy="288444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E82E755-0EDF-0549-9F8A-7B28A438E0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276622" y="4432262"/>
            <a:ext cx="5566449" cy="194169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C34F1AB7-853F-704F-BB08-CA3B5FC2D62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1178560"/>
            <a:ext cx="6096000" cy="279499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CFEB1395-244C-8141-98E3-82F949C9F4E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963" y="1314935"/>
            <a:ext cx="5412107" cy="5177940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02407EC7-675D-3E47-9628-9F53954F59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A9CAA733-4209-EC48-8247-E32413F0B0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1" y="6507948"/>
            <a:ext cx="5411790" cy="3500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rgbClr val="89898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7" name="Title Placeholder 3">
            <a:extLst>
              <a:ext uri="{FF2B5EF4-FFF2-40B4-BE49-F238E27FC236}">
                <a16:creationId xmlns:a16="http://schemas.microsoft.com/office/drawing/2014/main" id="{65709EEB-33B8-FB40-B1E3-A9A9C5F7A8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11480800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AB7E53A-F6B5-AA40-ABBD-3F28729EDA5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5281" y="599920"/>
            <a:ext cx="11480800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Slide Number Placeholder 24">
            <a:extLst>
              <a:ext uri="{FF2B5EF4-FFF2-40B4-BE49-F238E27FC236}">
                <a16:creationId xmlns:a16="http://schemas.microsoft.com/office/drawing/2014/main" id="{57DF4933-EA3A-D64C-B69E-1610868DE697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tx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tx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6822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8AC8AB0-DFF2-8C44-98A4-4DCB30447F4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1029482-AD50-444C-B93E-B9C279796CD5}"/>
              </a:ext>
            </a:extLst>
          </p:cNvPr>
          <p:cNvSpPr/>
          <p:nvPr userDrawn="1"/>
        </p:nvSpPr>
        <p:spPr>
          <a:xfrm>
            <a:off x="0" y="0"/>
            <a:ext cx="12192000" cy="11785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A75C5EE-4EBE-F344-BFDD-9306F23478C5}"/>
              </a:ext>
            </a:extLst>
          </p:cNvPr>
          <p:cNvSpPr/>
          <p:nvPr userDrawn="1"/>
        </p:nvSpPr>
        <p:spPr>
          <a:xfrm>
            <a:off x="0" y="3973552"/>
            <a:ext cx="6096000" cy="288444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3AD1EA90-7962-A446-8661-171019004F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1178560"/>
            <a:ext cx="6096000" cy="279499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E82E755-0EDF-0549-9F8A-7B28A438E0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8929" y="4481690"/>
            <a:ext cx="5398142" cy="194169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CFEB1395-244C-8141-98E3-82F949C9F4E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03973" y="1314935"/>
            <a:ext cx="5412107" cy="5177940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A9CAA733-4209-EC48-8247-E32413F0B0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1" y="6507948"/>
            <a:ext cx="5411790" cy="3500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4" name="Slide Number Placeholder 24">
            <a:extLst>
              <a:ext uri="{FF2B5EF4-FFF2-40B4-BE49-F238E27FC236}">
                <a16:creationId xmlns:a16="http://schemas.microsoft.com/office/drawing/2014/main" id="{EE66E807-4D10-7143-ABCD-DC6D0804DD25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bg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bg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  <p:sp>
        <p:nvSpPr>
          <p:cNvPr id="16" name="Title Placeholder 3">
            <a:extLst>
              <a:ext uri="{FF2B5EF4-FFF2-40B4-BE49-F238E27FC236}">
                <a16:creationId xmlns:a16="http://schemas.microsoft.com/office/drawing/2014/main" id="{558DA01A-46D0-5542-94E7-94E14915BF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11480800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E4B5DE41-EABD-A24C-977E-26ADACDDE1C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5281" y="599920"/>
            <a:ext cx="11480800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B6EF1715-8183-C749-9E97-A70EF1A0D3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698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D49D747-065F-524F-8C1C-9CD5FCBFDE4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54C382F-CBDC-D94E-B3F8-F0516B5BBF35}"/>
              </a:ext>
            </a:extLst>
          </p:cNvPr>
          <p:cNvSpPr/>
          <p:nvPr userDrawn="1"/>
        </p:nvSpPr>
        <p:spPr>
          <a:xfrm>
            <a:off x="0" y="0"/>
            <a:ext cx="12192000" cy="11785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7A82AAA9-5210-D14B-8F4D-28D518B7956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1178560"/>
            <a:ext cx="6096000" cy="567944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A9CAA733-4209-EC48-8247-E32413F0B0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1" y="6507948"/>
            <a:ext cx="5411790" cy="3500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4" name="Slide Number Placeholder 24">
            <a:extLst>
              <a:ext uri="{FF2B5EF4-FFF2-40B4-BE49-F238E27FC236}">
                <a16:creationId xmlns:a16="http://schemas.microsoft.com/office/drawing/2014/main" id="{EE66E807-4D10-7143-ABCD-DC6D0804DD25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bg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bg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  <p:sp>
        <p:nvSpPr>
          <p:cNvPr id="9" name="Title Placeholder 3">
            <a:extLst>
              <a:ext uri="{FF2B5EF4-FFF2-40B4-BE49-F238E27FC236}">
                <a16:creationId xmlns:a16="http://schemas.microsoft.com/office/drawing/2014/main" id="{C5099458-9056-D64F-B77E-5697278E6A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11480800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550930D-81AD-8A42-9FF2-0904AC67F7F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5281" y="599920"/>
            <a:ext cx="11480800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1D9D41AA-10CA-344B-9A02-CF8D84D832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03973" y="1314935"/>
            <a:ext cx="5412107" cy="5177940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4510983-17BE-5E40-9AB8-F52907099E0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91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Imag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4991FED-2694-8A43-A080-0C328899BF2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86CD2FB-EE65-3C46-9BB2-4AAD94DEB6A5}"/>
              </a:ext>
            </a:extLst>
          </p:cNvPr>
          <p:cNvSpPr/>
          <p:nvPr userDrawn="1"/>
        </p:nvSpPr>
        <p:spPr>
          <a:xfrm>
            <a:off x="0" y="0"/>
            <a:ext cx="12192000" cy="11785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C34F1AB7-853F-704F-BB08-CA3B5FC2D62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1178559"/>
            <a:ext cx="6096000" cy="567944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CFEB1395-244C-8141-98E3-82F949C9F4E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964" y="1314935"/>
            <a:ext cx="5412107" cy="5177940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A9CAA733-4209-EC48-8247-E32413F0B0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1" y="6507948"/>
            <a:ext cx="5411790" cy="3500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rgbClr val="89898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8" name="Title Placeholder 3">
            <a:extLst>
              <a:ext uri="{FF2B5EF4-FFF2-40B4-BE49-F238E27FC236}">
                <a16:creationId xmlns:a16="http://schemas.microsoft.com/office/drawing/2014/main" id="{2CB00942-7971-4D40-BBB9-674285A20B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11480800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33086DEB-2087-D148-BA16-51A6C696DFC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5281" y="599920"/>
            <a:ext cx="11480800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24">
            <a:extLst>
              <a:ext uri="{FF2B5EF4-FFF2-40B4-BE49-F238E27FC236}">
                <a16:creationId xmlns:a16="http://schemas.microsoft.com/office/drawing/2014/main" id="{6DE734A9-63B5-5243-929C-21581BF2748A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tx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tx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0794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Imag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6E2D487-2137-BD45-B304-0D0E4A465D6B}"/>
              </a:ext>
            </a:extLst>
          </p:cNvPr>
          <p:cNvSpPr/>
          <p:nvPr userDrawn="1"/>
        </p:nvSpPr>
        <p:spPr>
          <a:xfrm>
            <a:off x="9133840" y="3413759"/>
            <a:ext cx="3058160" cy="344424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E49C505-8EC6-9F40-81D5-EAD8DF3B9FBC}"/>
              </a:ext>
            </a:extLst>
          </p:cNvPr>
          <p:cNvSpPr/>
          <p:nvPr userDrawn="1"/>
        </p:nvSpPr>
        <p:spPr>
          <a:xfrm>
            <a:off x="0" y="0"/>
            <a:ext cx="608584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8EBC69EF-A740-FF4B-A112-1D7CB0D448B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5281" y="1394455"/>
            <a:ext cx="5381568" cy="50863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Content Placeholder 10">
            <a:extLst>
              <a:ext uri="{FF2B5EF4-FFF2-40B4-BE49-F238E27FC236}">
                <a16:creationId xmlns:a16="http://schemas.microsoft.com/office/drawing/2014/main" id="{C223137F-3EA6-0D4C-8375-B9C0656A83DE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5280" y="2006931"/>
            <a:ext cx="5381568" cy="4501016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15C7F00F-56B7-8347-A292-85B39C433F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  <p:sp>
        <p:nvSpPr>
          <p:cNvPr id="31" name="Picture Placeholder 8">
            <a:extLst>
              <a:ext uri="{FF2B5EF4-FFF2-40B4-BE49-F238E27FC236}">
                <a16:creationId xmlns:a16="http://schemas.microsoft.com/office/drawing/2014/main" id="{8E6CBC87-94C4-D346-A9B6-E55C8D5572F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85840" y="3413758"/>
            <a:ext cx="3048000" cy="344424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2" name="Picture Placeholder 8">
            <a:extLst>
              <a:ext uri="{FF2B5EF4-FFF2-40B4-BE49-F238E27FC236}">
                <a16:creationId xmlns:a16="http://schemas.microsoft.com/office/drawing/2014/main" id="{3737441B-7A07-1B43-BFA0-D8F6D96FBB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85840" y="0"/>
            <a:ext cx="3048000" cy="341375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3" name="Picture Placeholder 8">
            <a:extLst>
              <a:ext uri="{FF2B5EF4-FFF2-40B4-BE49-F238E27FC236}">
                <a16:creationId xmlns:a16="http://schemas.microsoft.com/office/drawing/2014/main" id="{890760A3-18EC-464C-A369-3F4D869ADE8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133840" y="0"/>
            <a:ext cx="3058160" cy="341375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0F9816C0-A683-7446-8A54-2E72B77CF9E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278910" y="3567659"/>
            <a:ext cx="2756133" cy="2925215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846B62FF-6442-1D48-86A4-80E64CFB24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1" y="6507948"/>
            <a:ext cx="5411790" cy="3500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6" name="Slide Number Placeholder 24">
            <a:extLst>
              <a:ext uri="{FF2B5EF4-FFF2-40B4-BE49-F238E27FC236}">
                <a16:creationId xmlns:a16="http://schemas.microsoft.com/office/drawing/2014/main" id="{28D15FED-4C91-0E49-A916-B6C697782766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tx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tx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  <p:sp>
        <p:nvSpPr>
          <p:cNvPr id="17" name="Title Placeholder 3">
            <a:extLst>
              <a:ext uri="{FF2B5EF4-FFF2-40B4-BE49-F238E27FC236}">
                <a16:creationId xmlns:a16="http://schemas.microsoft.com/office/drawing/2014/main" id="{B7C42991-5B83-E44B-89DB-5B43BD5A0C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178129"/>
            <a:ext cx="5381569" cy="111248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Imag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C35C4F7-CB14-A44D-81C7-6054FCF2654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5FA93C3-E346-1B4D-A9C2-D17F38102682}"/>
              </a:ext>
            </a:extLst>
          </p:cNvPr>
          <p:cNvSpPr/>
          <p:nvPr userDrawn="1"/>
        </p:nvSpPr>
        <p:spPr>
          <a:xfrm>
            <a:off x="0" y="0"/>
            <a:ext cx="12192000" cy="11785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24C197A5-042F-F546-B6D1-E17EAD40414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178557"/>
            <a:ext cx="6095996" cy="252114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3E6E6C01-4CB2-8643-80D0-82A231F7D3D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6000" y="1178557"/>
            <a:ext cx="6096000" cy="252114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6F500B3-41CD-794E-8DBC-F69FAA88E441}"/>
              </a:ext>
            </a:extLst>
          </p:cNvPr>
          <p:cNvCxnSpPr>
            <a:cxnSpLocks/>
          </p:cNvCxnSpPr>
          <p:nvPr userDrawn="1"/>
        </p:nvCxnSpPr>
        <p:spPr>
          <a:xfrm>
            <a:off x="6088079" y="3699703"/>
            <a:ext cx="0" cy="3158297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88D13DD-DFE9-FD41-B15C-FD7C968E813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/>
              <a:t>CONFIDENTIAL</a:t>
            </a:r>
          </a:p>
        </p:txBody>
      </p:sp>
      <p:sp>
        <p:nvSpPr>
          <p:cNvPr id="18" name="Content Placeholder 10">
            <a:extLst>
              <a:ext uri="{FF2B5EF4-FFF2-40B4-BE49-F238E27FC236}">
                <a16:creationId xmlns:a16="http://schemas.microsoft.com/office/drawing/2014/main" id="{DD1E644A-A6FC-AD48-BBD3-5DCACE40CD0B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5279" y="3921151"/>
            <a:ext cx="5411789" cy="2586796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10">
            <a:extLst>
              <a:ext uri="{FF2B5EF4-FFF2-40B4-BE49-F238E27FC236}">
                <a16:creationId xmlns:a16="http://schemas.microsoft.com/office/drawing/2014/main" id="{D81A2CAB-58F6-4542-9837-201354700DE5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453216" y="3921151"/>
            <a:ext cx="5362862" cy="2586796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itle Placeholder 3">
            <a:extLst>
              <a:ext uri="{FF2B5EF4-FFF2-40B4-BE49-F238E27FC236}">
                <a16:creationId xmlns:a16="http://schemas.microsoft.com/office/drawing/2014/main" id="{85D41904-0524-0247-9C87-BE8C43A55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11480800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C903A4AF-4571-1B4C-84EF-6710F401E80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5281" y="599920"/>
            <a:ext cx="11480800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24">
            <a:extLst>
              <a:ext uri="{FF2B5EF4-FFF2-40B4-BE49-F238E27FC236}">
                <a16:creationId xmlns:a16="http://schemas.microsoft.com/office/drawing/2014/main" id="{46AE5519-0094-EC4B-B793-E2B9E7F5EDB9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tx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tx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5EF7B90E-919A-0B4A-86D1-57EA779E77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1392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 Imag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B886B06A-EE8C-F045-9AAF-2FCAE41503E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20CABFA-32A0-F844-AD61-9D90CF6D53D2}"/>
              </a:ext>
            </a:extLst>
          </p:cNvPr>
          <p:cNvSpPr/>
          <p:nvPr userDrawn="1"/>
        </p:nvSpPr>
        <p:spPr>
          <a:xfrm>
            <a:off x="0" y="0"/>
            <a:ext cx="12192000" cy="11785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EB05946E-3AE1-F349-845D-2361A7D2FFD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1178557"/>
            <a:ext cx="4064000" cy="252114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065CB867-3A99-1643-AE9C-B4F69204567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64000" y="1178557"/>
            <a:ext cx="4064000" cy="252114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Picture Placeholder 8">
            <a:extLst>
              <a:ext uri="{FF2B5EF4-FFF2-40B4-BE49-F238E27FC236}">
                <a16:creationId xmlns:a16="http://schemas.microsoft.com/office/drawing/2014/main" id="{075D91B9-113E-2F4F-8A50-783603DCA366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128000" y="1178557"/>
            <a:ext cx="4064000" cy="252114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BC98553-4A58-734A-B567-B2434C7BB2A9}"/>
              </a:ext>
            </a:extLst>
          </p:cNvPr>
          <p:cNvCxnSpPr>
            <a:cxnSpLocks/>
          </p:cNvCxnSpPr>
          <p:nvPr userDrawn="1"/>
        </p:nvCxnSpPr>
        <p:spPr>
          <a:xfrm>
            <a:off x="8124037" y="3699703"/>
            <a:ext cx="0" cy="3158297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E7752D2-783E-3B41-B31A-CF20F25903E1}"/>
              </a:ext>
            </a:extLst>
          </p:cNvPr>
          <p:cNvCxnSpPr>
            <a:cxnSpLocks/>
          </p:cNvCxnSpPr>
          <p:nvPr userDrawn="1"/>
        </p:nvCxnSpPr>
        <p:spPr>
          <a:xfrm>
            <a:off x="4064000" y="3699703"/>
            <a:ext cx="0" cy="3158297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ontent Placeholder 10">
            <a:extLst>
              <a:ext uri="{FF2B5EF4-FFF2-40B4-BE49-F238E27FC236}">
                <a16:creationId xmlns:a16="http://schemas.microsoft.com/office/drawing/2014/main" id="{CC0A6DFA-44AA-1243-8BD4-3035DD4ED224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5280" y="3921151"/>
            <a:ext cx="3393440" cy="2586796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0" name="Content Placeholder 10">
            <a:extLst>
              <a:ext uri="{FF2B5EF4-FFF2-40B4-BE49-F238E27FC236}">
                <a16:creationId xmlns:a16="http://schemas.microsoft.com/office/drawing/2014/main" id="{E93706E4-102F-9440-B4E5-081B6C24B3F0}"/>
              </a:ext>
            </a:extLst>
          </p:cNvPr>
          <p:cNvSpPr>
            <a:spLocks noGrp="1"/>
          </p:cNvSpPr>
          <p:nvPr>
            <p:ph sz="quarter" idx="36"/>
          </p:nvPr>
        </p:nvSpPr>
        <p:spPr>
          <a:xfrm>
            <a:off x="4399280" y="3921151"/>
            <a:ext cx="3393440" cy="2586796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1" name="Content Placeholder 10">
            <a:extLst>
              <a:ext uri="{FF2B5EF4-FFF2-40B4-BE49-F238E27FC236}">
                <a16:creationId xmlns:a16="http://schemas.microsoft.com/office/drawing/2014/main" id="{476391C3-BCC3-7E42-BC5F-991FEA969599}"/>
              </a:ext>
            </a:extLst>
          </p:cNvPr>
          <p:cNvSpPr>
            <a:spLocks noGrp="1"/>
          </p:cNvSpPr>
          <p:nvPr>
            <p:ph sz="quarter" idx="37"/>
          </p:nvPr>
        </p:nvSpPr>
        <p:spPr>
          <a:xfrm>
            <a:off x="8463280" y="3921151"/>
            <a:ext cx="3393440" cy="2586796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2" name="Title Placeholder 3">
            <a:extLst>
              <a:ext uri="{FF2B5EF4-FFF2-40B4-BE49-F238E27FC236}">
                <a16:creationId xmlns:a16="http://schemas.microsoft.com/office/drawing/2014/main" id="{0D5E4FA9-EA55-ED40-A1E7-2B486525E1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11480800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1765E532-B97F-4F4C-8184-3488ADDE644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5281" y="599920"/>
            <a:ext cx="11480800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ooter Placeholder 5">
            <a:extLst>
              <a:ext uri="{FF2B5EF4-FFF2-40B4-BE49-F238E27FC236}">
                <a16:creationId xmlns:a16="http://schemas.microsoft.com/office/drawing/2014/main" id="{01EF0246-91B8-E04A-8B6C-9C4B68747E7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335279" y="6507948"/>
            <a:ext cx="5411791" cy="350052"/>
          </a:xfrm>
        </p:spPr>
        <p:txBody>
          <a:bodyPr/>
          <a:lstStyle/>
          <a:p>
            <a:r>
              <a:rPr lang="en-US" dirty="0"/>
              <a:t>CONFIDENTIAL</a:t>
            </a:r>
          </a:p>
        </p:txBody>
      </p:sp>
      <p:sp>
        <p:nvSpPr>
          <p:cNvPr id="16" name="Slide Number Placeholder 24">
            <a:extLst>
              <a:ext uri="{FF2B5EF4-FFF2-40B4-BE49-F238E27FC236}">
                <a16:creationId xmlns:a16="http://schemas.microsoft.com/office/drawing/2014/main" id="{8951159F-490D-D646-A98B-158B6FB111C5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tx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tx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B36FA4E-40DB-1C43-A90F-7A241AD75C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6536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AA12C1D-7DF1-464D-B6DC-0B45FBACEF70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5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306881" y="2397478"/>
            <a:ext cx="9582792" cy="1647411"/>
          </a:xfrm>
          <a:prstGeom prst="rect">
            <a:avLst/>
          </a:prstGeom>
          <a:effectLst/>
        </p:spPr>
        <p:txBody>
          <a:bodyPr anchor="ctr"/>
          <a:lstStyle>
            <a:lvl1pPr algn="ctr">
              <a:lnSpc>
                <a:spcPct val="100000"/>
              </a:lnSpc>
              <a:defRPr sz="5900" b="0" i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E33FD77B-B391-034A-8A68-96B1DA325F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  <p:sp>
        <p:nvSpPr>
          <p:cNvPr id="8" name="Slide Number Placeholder 24">
            <a:extLst>
              <a:ext uri="{FF2B5EF4-FFF2-40B4-BE49-F238E27FC236}">
                <a16:creationId xmlns:a16="http://schemas.microsoft.com/office/drawing/2014/main" id="{E4956E3D-E6DE-A94F-9BF9-1B377034FCE1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bg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bg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5059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1A4A1DE1-B53B-814B-8C5C-77CDD113907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FAB5E36-4394-814F-8182-536CFB3A82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78247" y="2355125"/>
            <a:ext cx="7762688" cy="1423578"/>
          </a:xfrm>
          <a:prstGeom prst="rect">
            <a:avLst/>
          </a:prstGeom>
          <a:effectLst/>
        </p:spPr>
        <p:txBody>
          <a:bodyPr anchor="b">
            <a:noAutofit/>
          </a:bodyPr>
          <a:lstStyle>
            <a:lvl1pPr algn="l">
              <a:defRPr sz="7200" b="0" i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First Last Nam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1CEA7F1-6CC5-1949-A0DD-DC130D82D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285E97F6-DAAD-A644-8FCB-26882D3571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78247" y="3778703"/>
            <a:ext cx="7762688" cy="33259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buFontTx/>
              <a:buNone/>
              <a:defRPr sz="24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100000"/>
              </a:lnSpc>
              <a:buFontTx/>
              <a:buNone/>
              <a:defRPr sz="2000" b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0" indent="0">
              <a:lnSpc>
                <a:spcPct val="100000"/>
              </a:lnSpc>
              <a:buFontTx/>
              <a:buNone/>
              <a:defRPr sz="2000" b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0" indent="0">
              <a:lnSpc>
                <a:spcPct val="100000"/>
              </a:lnSpc>
              <a:buFontTx/>
              <a:buNone/>
              <a:defRPr sz="2000" b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0" indent="0">
              <a:lnSpc>
                <a:spcPct val="100000"/>
              </a:lnSpc>
              <a:buFontTx/>
              <a:buNone/>
              <a:defRPr sz="2000" b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100E63F-3CF0-2F43-BA27-3348C9CB5A2E}"/>
              </a:ext>
            </a:extLst>
          </p:cNvPr>
          <p:cNvSpPr/>
          <p:nvPr userDrawn="1"/>
        </p:nvSpPr>
        <p:spPr>
          <a:xfrm>
            <a:off x="1" y="0"/>
            <a:ext cx="1935678" cy="6858000"/>
          </a:xfrm>
          <a:prstGeom prst="rect">
            <a:avLst/>
          </a:prstGeom>
          <a:solidFill>
            <a:schemeClr val="tx2">
              <a:lumMod val="75000"/>
              <a:alpha val="45000"/>
            </a:schemeClr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97ABDA56-CEB9-3846-A27A-64CB6E1820E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21461" y="1933816"/>
            <a:ext cx="2770912" cy="277091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>
            <a:outerShdw blurRad="330200" dist="139700" dir="2700000" algn="tl" rotWithShape="0">
              <a:prstClr val="black">
                <a:alpha val="29000"/>
              </a:prstClr>
            </a:outerShdw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Insert photo here</a:t>
            </a:r>
          </a:p>
        </p:txBody>
      </p:sp>
    </p:spTree>
    <p:extLst>
      <p:ext uri="{BB962C8B-B14F-4D97-AF65-F5344CB8AC3E}">
        <p14:creationId xmlns:p14="http://schemas.microsoft.com/office/powerpoint/2010/main" val="3762555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7BB55497-44C1-C44B-ADFF-96EA038A9DC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9BB2845-37EC-2E4F-8BCA-21C56002B5AE}"/>
              </a:ext>
            </a:extLst>
          </p:cNvPr>
          <p:cNvSpPr/>
          <p:nvPr userDrawn="1"/>
        </p:nvSpPr>
        <p:spPr>
          <a:xfrm>
            <a:off x="0" y="0"/>
            <a:ext cx="12192000" cy="11785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F25359C-1277-A74D-B51D-96DF8EB66D74}"/>
              </a:ext>
            </a:extLst>
          </p:cNvPr>
          <p:cNvCxnSpPr>
            <a:cxnSpLocks/>
          </p:cNvCxnSpPr>
          <p:nvPr userDrawn="1"/>
        </p:nvCxnSpPr>
        <p:spPr>
          <a:xfrm>
            <a:off x="8986345" y="1314935"/>
            <a:ext cx="0" cy="5193012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7494CF33-2944-ED45-A7F1-853C1139FC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12478" y="1314935"/>
            <a:ext cx="2703602" cy="5177940"/>
          </a:xfrm>
          <a:prstGeom prst="rect">
            <a:avLst/>
          </a:prstGeom>
        </p:spPr>
        <p:txBody>
          <a:bodyPr anchor="t"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447E16F0-D84C-1C4E-8C93-5BBC0435EF5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5279" y="1314935"/>
            <a:ext cx="8524913" cy="5193012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2E667D6F-DBEC-2048-9AB1-95D5D6B2E9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1" y="6507948"/>
            <a:ext cx="5411790" cy="3500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1" name="Title Placeholder 3">
            <a:extLst>
              <a:ext uri="{FF2B5EF4-FFF2-40B4-BE49-F238E27FC236}">
                <a16:creationId xmlns:a16="http://schemas.microsoft.com/office/drawing/2014/main" id="{B2AAE41B-1C32-5547-8095-8D62EB3BDD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11480800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DC737B5-8003-7C47-8745-3EC9A7AFBD7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5281" y="599920"/>
            <a:ext cx="11480800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Slide Number Placeholder 24">
            <a:extLst>
              <a:ext uri="{FF2B5EF4-FFF2-40B4-BE49-F238E27FC236}">
                <a16:creationId xmlns:a16="http://schemas.microsoft.com/office/drawing/2014/main" id="{80F2B236-0E83-F944-AEDD-666A641D1337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tx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tx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CE54CDF0-4245-B94C-A600-B49D923DB6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612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C22F71BF-6876-A44C-8AF1-ECC38F0D2A4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B302BBA-03B0-6E4A-9176-24B7FDE655A6}"/>
              </a:ext>
            </a:extLst>
          </p:cNvPr>
          <p:cNvSpPr/>
          <p:nvPr userDrawn="1"/>
        </p:nvSpPr>
        <p:spPr>
          <a:xfrm>
            <a:off x="0" y="0"/>
            <a:ext cx="12192000" cy="11785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447E16F0-D84C-1C4E-8C93-5BBC0435EF5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667088" y="1314933"/>
            <a:ext cx="8148991" cy="5193014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291373A-5CB9-0346-8577-268268BF57BA}"/>
              </a:ext>
            </a:extLst>
          </p:cNvPr>
          <p:cNvSpPr/>
          <p:nvPr userDrawn="1"/>
        </p:nvSpPr>
        <p:spPr>
          <a:xfrm>
            <a:off x="0" y="1178557"/>
            <a:ext cx="3331808" cy="5679444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7494CF33-2944-ED45-A7F1-853C1139FC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7574" y="1314933"/>
            <a:ext cx="2703602" cy="5177941"/>
          </a:xfrm>
          <a:prstGeom prst="rect">
            <a:avLst/>
          </a:prstGeom>
        </p:spPr>
        <p:txBody>
          <a:bodyPr anchor="t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ooter Placeholder 1">
            <a:extLst>
              <a:ext uri="{FF2B5EF4-FFF2-40B4-BE49-F238E27FC236}">
                <a16:creationId xmlns:a16="http://schemas.microsoft.com/office/drawing/2014/main" id="{563040A0-1C1C-AF48-8631-2A8E2E9B7D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44323" y="6507948"/>
            <a:ext cx="5411790" cy="3500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89898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0" name="Title Placeholder 3">
            <a:extLst>
              <a:ext uri="{FF2B5EF4-FFF2-40B4-BE49-F238E27FC236}">
                <a16:creationId xmlns:a16="http://schemas.microsoft.com/office/drawing/2014/main" id="{522075D6-EE31-9D42-AB35-6F1E3B5E4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11480800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198E9A3-C45C-6C40-9EAB-2223DFFC004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5281" y="599920"/>
            <a:ext cx="11480800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24">
            <a:extLst>
              <a:ext uri="{FF2B5EF4-FFF2-40B4-BE49-F238E27FC236}">
                <a16:creationId xmlns:a16="http://schemas.microsoft.com/office/drawing/2014/main" id="{18D91718-2FC0-A340-80D7-50CFCF1B4BBB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bg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bg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A7FB3453-D0AA-504D-A30F-68FA610757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455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Layout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EB66CA3-4101-A34C-9DC8-7E4BCA1397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FC69796-4103-764F-9D47-C94ECA7AC98F}"/>
              </a:ext>
            </a:extLst>
          </p:cNvPr>
          <p:cNvSpPr/>
          <p:nvPr userDrawn="1"/>
        </p:nvSpPr>
        <p:spPr>
          <a:xfrm>
            <a:off x="0" y="0"/>
            <a:ext cx="12192000" cy="11785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447E16F0-D84C-1C4E-8C93-5BBC0435EF5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5280" y="1314932"/>
            <a:ext cx="11480799" cy="5193015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14C82222-AFE3-0A47-A35D-4CEDF31FF4C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1" y="6507948"/>
            <a:ext cx="5411790" cy="3500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rgbClr val="89898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8" name="Title Placeholder 3">
            <a:extLst>
              <a:ext uri="{FF2B5EF4-FFF2-40B4-BE49-F238E27FC236}">
                <a16:creationId xmlns:a16="http://schemas.microsoft.com/office/drawing/2014/main" id="{4ABD97A4-D4F4-F44D-BFBF-FC346A698B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11480800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39116A3E-450A-8348-BA16-9D57E1E1852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5281" y="599920"/>
            <a:ext cx="11480800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24">
            <a:extLst>
              <a:ext uri="{FF2B5EF4-FFF2-40B4-BE49-F238E27FC236}">
                <a16:creationId xmlns:a16="http://schemas.microsoft.com/office/drawing/2014/main" id="{DFBD2899-D746-014C-B48E-3D374AD418F3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tx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tx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BFF9B1CD-37C8-9642-B346-138097F57E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755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+ Imag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6F87A049-6FF2-EE46-B753-EB0D440DE6B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BEA6744-EA6C-B840-8661-1CADBA71202F}"/>
              </a:ext>
            </a:extLst>
          </p:cNvPr>
          <p:cNvSpPr/>
          <p:nvPr userDrawn="1"/>
        </p:nvSpPr>
        <p:spPr>
          <a:xfrm>
            <a:off x="0" y="0"/>
            <a:ext cx="12192000" cy="11785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A7ADD52-54BE-074E-B54A-2703307C7992}"/>
              </a:ext>
            </a:extLst>
          </p:cNvPr>
          <p:cNvSpPr/>
          <p:nvPr userDrawn="1"/>
        </p:nvSpPr>
        <p:spPr>
          <a:xfrm>
            <a:off x="0" y="3856152"/>
            <a:ext cx="12192000" cy="300184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AACE28B-1EB8-5D4D-90E2-C0D0BD9BC1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32491" y="4209846"/>
            <a:ext cx="5583590" cy="2198120"/>
          </a:xfrm>
          <a:prstGeom prst="rect">
            <a:avLst/>
          </a:prstGeom>
        </p:spPr>
        <p:txBody>
          <a:bodyPr anchor="ctr"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26D8AB7-EC21-2F4E-A738-720E33D44958}"/>
              </a:ext>
            </a:extLst>
          </p:cNvPr>
          <p:cNvSpPr/>
          <p:nvPr userDrawn="1"/>
        </p:nvSpPr>
        <p:spPr>
          <a:xfrm>
            <a:off x="0" y="1178557"/>
            <a:ext cx="5904091" cy="268092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E82E755-0EDF-0549-9F8A-7B28A438E0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5280" y="1314932"/>
            <a:ext cx="5214182" cy="2404844"/>
          </a:xfrm>
          <a:prstGeom prst="rect">
            <a:avLst/>
          </a:prstGeom>
        </p:spPr>
        <p:txBody>
          <a:bodyPr anchor="t"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400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400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C34F1AB7-853F-704F-BB08-CA3B5FC2D62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3856151"/>
            <a:ext cx="5904090" cy="300184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Chart Placeholder 8">
            <a:extLst>
              <a:ext uri="{FF2B5EF4-FFF2-40B4-BE49-F238E27FC236}">
                <a16:creationId xmlns:a16="http://schemas.microsoft.com/office/drawing/2014/main" id="{146E8A74-4824-AF4E-99B9-C95718C3464F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6091895" y="1314932"/>
            <a:ext cx="5908196" cy="2404844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76673DF4-7F53-3848-918B-9F2D53C0EC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  <p:sp>
        <p:nvSpPr>
          <p:cNvPr id="14" name="Title Placeholder 3">
            <a:extLst>
              <a:ext uri="{FF2B5EF4-FFF2-40B4-BE49-F238E27FC236}">
                <a16:creationId xmlns:a16="http://schemas.microsoft.com/office/drawing/2014/main" id="{4190CFFE-DB0C-1C4D-B619-733ECE0B86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11480800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A282C04-50A7-4048-8EE0-9215DC00DFF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5281" y="599920"/>
            <a:ext cx="11480800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Footer Placeholder 1">
            <a:extLst>
              <a:ext uri="{FF2B5EF4-FFF2-40B4-BE49-F238E27FC236}">
                <a16:creationId xmlns:a16="http://schemas.microsoft.com/office/drawing/2014/main" id="{E0D6A0B0-A4CD-C641-9656-65489E47A7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1" y="6507948"/>
            <a:ext cx="5411790" cy="3500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20" name="Slide Number Placeholder 24">
            <a:extLst>
              <a:ext uri="{FF2B5EF4-FFF2-40B4-BE49-F238E27FC236}">
                <a16:creationId xmlns:a16="http://schemas.microsoft.com/office/drawing/2014/main" id="{D52D1C71-0E3C-AF4E-9A55-7CB7CFA6F2AA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bg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bg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9790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+ Imag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423B3E8D-310B-DD43-AC47-8839F78D222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4D53048-7375-084A-80F9-896789969BE8}"/>
              </a:ext>
            </a:extLst>
          </p:cNvPr>
          <p:cNvSpPr/>
          <p:nvPr userDrawn="1"/>
        </p:nvSpPr>
        <p:spPr>
          <a:xfrm>
            <a:off x="0" y="0"/>
            <a:ext cx="12192000" cy="11785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6DEB382-8C9F-094E-AAC1-2A6B3338C481}"/>
              </a:ext>
            </a:extLst>
          </p:cNvPr>
          <p:cNvSpPr/>
          <p:nvPr userDrawn="1"/>
        </p:nvSpPr>
        <p:spPr>
          <a:xfrm>
            <a:off x="0" y="3962400"/>
            <a:ext cx="5742965" cy="291027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26D8AB7-EC21-2F4E-A738-720E33D44958}"/>
              </a:ext>
            </a:extLst>
          </p:cNvPr>
          <p:cNvSpPr/>
          <p:nvPr userDrawn="1"/>
        </p:nvSpPr>
        <p:spPr>
          <a:xfrm>
            <a:off x="5747071" y="3962400"/>
            <a:ext cx="6444929" cy="29102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E82E755-0EDF-0549-9F8A-7B28A438E0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915378" y="4172618"/>
            <a:ext cx="5900703" cy="2285902"/>
          </a:xfrm>
          <a:prstGeom prst="rect">
            <a:avLst/>
          </a:prstGeom>
        </p:spPr>
        <p:txBody>
          <a:bodyPr anchor="ctr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C34F1AB7-853F-704F-BB08-CA3B5FC2D62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71005" y="1167327"/>
            <a:ext cx="3216890" cy="279507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Chart Placeholder 8">
            <a:extLst>
              <a:ext uri="{FF2B5EF4-FFF2-40B4-BE49-F238E27FC236}">
                <a16:creationId xmlns:a16="http://schemas.microsoft.com/office/drawing/2014/main" id="{146E8A74-4824-AF4E-99B9-C95718C3464F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34963" y="4172619"/>
            <a:ext cx="5036190" cy="2320256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D37A72A1-E326-2649-A754-F699449F5B6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4963" y="1309015"/>
            <a:ext cx="8413621" cy="2389276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Footer Placeholder 1">
            <a:extLst>
              <a:ext uri="{FF2B5EF4-FFF2-40B4-BE49-F238E27FC236}">
                <a16:creationId xmlns:a16="http://schemas.microsoft.com/office/drawing/2014/main" id="{A470C995-0459-F44E-81D8-FAB800187C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1" y="6507948"/>
            <a:ext cx="5411790" cy="3500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rgbClr val="898989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8" name="Slide Number Placeholder 24">
            <a:extLst>
              <a:ext uri="{FF2B5EF4-FFF2-40B4-BE49-F238E27FC236}">
                <a16:creationId xmlns:a16="http://schemas.microsoft.com/office/drawing/2014/main" id="{70F02592-F654-7B49-B148-25A427194D95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tx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tx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434D09F1-AAB0-FD42-B127-25F28C0849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  <p:sp>
        <p:nvSpPr>
          <p:cNvPr id="15" name="Title Placeholder 3">
            <a:extLst>
              <a:ext uri="{FF2B5EF4-FFF2-40B4-BE49-F238E27FC236}">
                <a16:creationId xmlns:a16="http://schemas.microsoft.com/office/drawing/2014/main" id="{1F8CB53C-F5FE-2049-98DB-F77ACDCA79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11480800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67E98A92-6E24-244E-ADD9-FA5E95C25C4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5281" y="599920"/>
            <a:ext cx="11480800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8237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EB9752A-2017-7946-B688-131019AAC9C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A3828F9-B26C-D745-ABA1-D96603422824}"/>
              </a:ext>
            </a:extLst>
          </p:cNvPr>
          <p:cNvSpPr/>
          <p:nvPr userDrawn="1"/>
        </p:nvSpPr>
        <p:spPr>
          <a:xfrm>
            <a:off x="0" y="0"/>
            <a:ext cx="12192000" cy="11785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8F50D22-80BE-D144-900F-70CF688B0EEB}"/>
              </a:ext>
            </a:extLst>
          </p:cNvPr>
          <p:cNvSpPr/>
          <p:nvPr/>
        </p:nvSpPr>
        <p:spPr>
          <a:xfrm>
            <a:off x="6154302" y="1881129"/>
            <a:ext cx="5574710" cy="38475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19100" dist="241300" dir="5400000" algn="t" rotWithShape="0">
              <a:prstClr val="black">
                <a:alpha val="2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360000" rIns="274320" rtlCol="0" anchor="t"/>
          <a:lstStyle/>
          <a:p>
            <a:pPr>
              <a:spcBef>
                <a:spcPts val="1000"/>
              </a:spcBef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16BD193-B14A-1548-8E4D-BCEC17C0D5B9}"/>
              </a:ext>
            </a:extLst>
          </p:cNvPr>
          <p:cNvSpPr/>
          <p:nvPr/>
        </p:nvSpPr>
        <p:spPr>
          <a:xfrm>
            <a:off x="336994" y="1881129"/>
            <a:ext cx="5574710" cy="38475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19100" dist="241300" dir="5400000" algn="t" rotWithShape="0">
              <a:prstClr val="black">
                <a:alpha val="2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360000" rIns="274320" rtlCol="0" anchor="t"/>
          <a:lstStyle/>
          <a:p>
            <a:pPr>
              <a:spcBef>
                <a:spcPts val="1000"/>
              </a:spcBef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012F20F4-0F3C-8C4F-8317-423B3CEBBE34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6303319" y="2144901"/>
            <a:ext cx="5274962" cy="3394111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8709A9EA-3B0C-B94A-B065-1BCCE7037DE4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335281" y="6507948"/>
            <a:ext cx="5411790" cy="3500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3290B978-724E-9941-938F-2F6ABCE4CAC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85154" y="2144901"/>
            <a:ext cx="5274962" cy="3394111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Title Placeholder 3">
            <a:extLst>
              <a:ext uri="{FF2B5EF4-FFF2-40B4-BE49-F238E27FC236}">
                <a16:creationId xmlns:a16="http://schemas.microsoft.com/office/drawing/2014/main" id="{27584A5E-E0DC-0E48-A9E9-004A9C0132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11480800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911E3739-ECC0-EC44-8250-70340196548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5281" y="599920"/>
            <a:ext cx="11480800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24">
            <a:extLst>
              <a:ext uri="{FF2B5EF4-FFF2-40B4-BE49-F238E27FC236}">
                <a16:creationId xmlns:a16="http://schemas.microsoft.com/office/drawing/2014/main" id="{96E9BD92-EA4E-5848-9DEB-5C8D065356E9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tx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tx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4BF1F4F1-88CC-B449-842A-E13973DE26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5677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9DBEF63-9965-F846-AA07-C8D2904221F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39DCCE5-F432-C54F-88C5-DBC34D286F4C}"/>
              </a:ext>
            </a:extLst>
          </p:cNvPr>
          <p:cNvSpPr/>
          <p:nvPr userDrawn="1"/>
        </p:nvSpPr>
        <p:spPr>
          <a:xfrm>
            <a:off x="0" y="0"/>
            <a:ext cx="12192000" cy="11785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5C6C98D-B093-5042-9B97-961C926575F6}"/>
              </a:ext>
            </a:extLst>
          </p:cNvPr>
          <p:cNvSpPr/>
          <p:nvPr userDrawn="1"/>
        </p:nvSpPr>
        <p:spPr>
          <a:xfrm>
            <a:off x="456100" y="1881129"/>
            <a:ext cx="3575157" cy="38475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19100" dist="241300" dir="5400000" algn="t" rotWithShape="0">
              <a:prstClr val="black">
                <a:alpha val="2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360000" rIns="274320" rtlCol="0" anchor="t"/>
          <a:lstStyle/>
          <a:p>
            <a:pPr>
              <a:spcBef>
                <a:spcPts val="1000"/>
              </a:spcBef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C8A2045-248C-5E42-9CD2-9D40BBF65036}"/>
              </a:ext>
            </a:extLst>
          </p:cNvPr>
          <p:cNvSpPr/>
          <p:nvPr userDrawn="1"/>
        </p:nvSpPr>
        <p:spPr>
          <a:xfrm>
            <a:off x="4308043" y="1881129"/>
            <a:ext cx="3575157" cy="38475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19100" dist="241300" dir="5400000" algn="t" rotWithShape="0">
              <a:prstClr val="black">
                <a:alpha val="2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360000" rIns="274320" rtlCol="0" anchor="t"/>
          <a:lstStyle/>
          <a:p>
            <a:pPr>
              <a:spcBef>
                <a:spcPts val="1000"/>
              </a:spcBef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C12C105-AF4B-D84E-B9EA-76D099594639}"/>
              </a:ext>
            </a:extLst>
          </p:cNvPr>
          <p:cNvSpPr/>
          <p:nvPr userDrawn="1"/>
        </p:nvSpPr>
        <p:spPr>
          <a:xfrm>
            <a:off x="8160743" y="1881129"/>
            <a:ext cx="3575157" cy="38475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19100" dist="241300" dir="5400000" algn="t" rotWithShape="0">
              <a:prstClr val="black">
                <a:alpha val="2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360000" rIns="274320" rtlCol="0" anchor="t"/>
          <a:lstStyle/>
          <a:p>
            <a:pPr>
              <a:spcBef>
                <a:spcPts val="1000"/>
              </a:spcBef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4F2EE3E-A0E7-0848-80A9-90579D9F9B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151" y="2144901"/>
            <a:ext cx="3332480" cy="3394111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012F20F4-0F3C-8C4F-8317-423B3CEBBE3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26666" y="2144901"/>
            <a:ext cx="3335554" cy="3394111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5BFF9B43-9561-9B4C-BB68-6831376ACB3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91343" y="2144901"/>
            <a:ext cx="3333506" cy="3394111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8709A9EA-3B0C-B94A-B065-1BCCE7037D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1" y="6507948"/>
            <a:ext cx="5411790" cy="3500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22" name="Title Placeholder 3">
            <a:extLst>
              <a:ext uri="{FF2B5EF4-FFF2-40B4-BE49-F238E27FC236}">
                <a16:creationId xmlns:a16="http://schemas.microsoft.com/office/drawing/2014/main" id="{3B31D6EE-2B69-CB4F-B896-C3E32C6886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11480800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03F46CDE-03DE-704D-A3DB-FC3642A3540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5281" y="599920"/>
            <a:ext cx="11480800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24">
            <a:extLst>
              <a:ext uri="{FF2B5EF4-FFF2-40B4-BE49-F238E27FC236}">
                <a16:creationId xmlns:a16="http://schemas.microsoft.com/office/drawing/2014/main" id="{E1EFBDE7-9D44-3D4A-9DB8-B22B2AD874CC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tx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tx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D07B0ABD-3706-6741-B72B-E5CCF2756A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127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D19284A-29AE-6C4E-9CE1-FE9F0FD2361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39D7EEA-282E-134F-B59D-4DB319E5209D}"/>
              </a:ext>
            </a:extLst>
          </p:cNvPr>
          <p:cNvSpPr/>
          <p:nvPr userDrawn="1"/>
        </p:nvSpPr>
        <p:spPr>
          <a:xfrm>
            <a:off x="0" y="0"/>
            <a:ext cx="12192000" cy="11785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FBF3C8F-9048-7147-BBE7-B0EB51B2D7BA}"/>
              </a:ext>
            </a:extLst>
          </p:cNvPr>
          <p:cNvSpPr/>
          <p:nvPr userDrawn="1"/>
        </p:nvSpPr>
        <p:spPr>
          <a:xfrm>
            <a:off x="335280" y="1881129"/>
            <a:ext cx="2713475" cy="38475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19100" dist="241300" dir="5400000" algn="t" rotWithShape="0">
              <a:prstClr val="black">
                <a:alpha val="2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360000" rIns="274320" rtlCol="0" anchor="t"/>
          <a:lstStyle/>
          <a:p>
            <a:pPr>
              <a:spcBef>
                <a:spcPts val="1000"/>
              </a:spcBef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215E175-3273-D649-A5AC-22E126F06F5D}"/>
              </a:ext>
            </a:extLst>
          </p:cNvPr>
          <p:cNvSpPr/>
          <p:nvPr userDrawn="1"/>
        </p:nvSpPr>
        <p:spPr>
          <a:xfrm>
            <a:off x="3256332" y="1881129"/>
            <a:ext cx="2713475" cy="38475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19100" dist="241300" dir="5400000" algn="t" rotWithShape="0">
              <a:prstClr val="black">
                <a:alpha val="2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360000" rIns="274320" rtlCol="0" anchor="t"/>
          <a:lstStyle/>
          <a:p>
            <a:pPr>
              <a:spcBef>
                <a:spcPts val="1000"/>
              </a:spcBef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5768801-B345-5F4E-B663-E99CD34D10A1}"/>
              </a:ext>
            </a:extLst>
          </p:cNvPr>
          <p:cNvSpPr/>
          <p:nvPr userDrawn="1"/>
        </p:nvSpPr>
        <p:spPr>
          <a:xfrm>
            <a:off x="6176550" y="1881129"/>
            <a:ext cx="2713475" cy="38475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19100" dist="241300" dir="5400000" algn="t" rotWithShape="0">
              <a:prstClr val="black">
                <a:alpha val="2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360000" rIns="274320" rtlCol="0" anchor="t"/>
          <a:lstStyle/>
          <a:p>
            <a:pPr>
              <a:spcBef>
                <a:spcPts val="1000"/>
              </a:spcBef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DE6470E-64AF-804D-A9F0-A7EF353D97BF}"/>
              </a:ext>
            </a:extLst>
          </p:cNvPr>
          <p:cNvSpPr/>
          <p:nvPr userDrawn="1"/>
        </p:nvSpPr>
        <p:spPr>
          <a:xfrm>
            <a:off x="9101771" y="1881129"/>
            <a:ext cx="2713475" cy="38475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19100" dist="241300" dir="5400000" algn="t" rotWithShape="0">
              <a:prstClr val="black">
                <a:alpha val="2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tIns="360000" rIns="274320" rtlCol="0" anchor="t"/>
          <a:lstStyle/>
          <a:p>
            <a:pPr>
              <a:spcBef>
                <a:spcPts val="1000"/>
              </a:spcBef>
            </a:pP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4F2EE3E-A0E7-0848-80A9-90579D9F9B6C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435383" y="2144901"/>
            <a:ext cx="2514104" cy="3394111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012F20F4-0F3C-8C4F-8317-423B3CEBBE34}"/>
              </a:ext>
            </a:extLst>
          </p:cNvPr>
          <p:cNvSpPr>
            <a:spLocks noGrp="1"/>
          </p:cNvSpPr>
          <p:nvPr userDrawn="1">
            <p:ph type="body" sz="quarter" idx="11"/>
          </p:nvPr>
        </p:nvSpPr>
        <p:spPr>
          <a:xfrm>
            <a:off x="3356403" y="2144901"/>
            <a:ext cx="2513334" cy="3394111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18">
            <a:extLst>
              <a:ext uri="{FF2B5EF4-FFF2-40B4-BE49-F238E27FC236}">
                <a16:creationId xmlns:a16="http://schemas.microsoft.com/office/drawing/2014/main" id="{5BFF9B43-9561-9B4C-BB68-6831376ACB38}"/>
              </a:ext>
            </a:extLst>
          </p:cNvPr>
          <p:cNvSpPr>
            <a:spLocks noGrp="1"/>
          </p:cNvSpPr>
          <p:nvPr userDrawn="1">
            <p:ph type="body" sz="quarter" idx="12"/>
          </p:nvPr>
        </p:nvSpPr>
        <p:spPr>
          <a:xfrm>
            <a:off x="6276622" y="2144901"/>
            <a:ext cx="2513332" cy="3394111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8709A9EA-3B0C-B94A-B065-1BCCE7037DE4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335281" y="6507948"/>
            <a:ext cx="5411790" cy="3500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719939E2-A94C-464C-B918-4A1558765AC5}"/>
              </a:ext>
            </a:extLst>
          </p:cNvPr>
          <p:cNvSpPr>
            <a:spLocks noGrp="1"/>
          </p:cNvSpPr>
          <p:nvPr userDrawn="1">
            <p:ph type="body" sz="quarter" idx="17"/>
          </p:nvPr>
        </p:nvSpPr>
        <p:spPr>
          <a:xfrm>
            <a:off x="9200445" y="2144901"/>
            <a:ext cx="2513332" cy="3394111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9" name="Title Placeholder 3">
            <a:extLst>
              <a:ext uri="{FF2B5EF4-FFF2-40B4-BE49-F238E27FC236}">
                <a16:creationId xmlns:a16="http://schemas.microsoft.com/office/drawing/2014/main" id="{735920EF-3726-6F4D-888F-1311AAC69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11480800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55CACE-6F79-FB4E-AEC7-8274114F65B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5281" y="599920"/>
            <a:ext cx="11480800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Slide Number Placeholder 24">
            <a:extLst>
              <a:ext uri="{FF2B5EF4-FFF2-40B4-BE49-F238E27FC236}">
                <a16:creationId xmlns:a16="http://schemas.microsoft.com/office/drawing/2014/main" id="{E68D5E23-44D2-224D-97CD-9614B3FE2F9F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tx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tx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3661383-2699-614D-AA75-4BE7EFE365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6403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8D3C3117-17EF-4F49-9719-7971F7EA78BF}"/>
              </a:ext>
            </a:extLst>
          </p:cNvPr>
          <p:cNvSpPr/>
          <p:nvPr userDrawn="1"/>
        </p:nvSpPr>
        <p:spPr>
          <a:xfrm>
            <a:off x="5301160" y="1178558"/>
            <a:ext cx="6890840" cy="5679441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C34F1AB7-853F-704F-BB08-CA3B5FC2D62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1178559"/>
            <a:ext cx="5301160" cy="567944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9FF5FEB0-9DAA-A443-BEE3-147EE27826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  <p:sp>
        <p:nvSpPr>
          <p:cNvPr id="15" name="Graphic 12">
            <a:extLst>
              <a:ext uri="{FF2B5EF4-FFF2-40B4-BE49-F238E27FC236}">
                <a16:creationId xmlns:a16="http://schemas.microsoft.com/office/drawing/2014/main" id="{CCF305F5-9874-7344-BB95-13091E955609}"/>
              </a:ext>
            </a:extLst>
          </p:cNvPr>
          <p:cNvSpPr/>
          <p:nvPr userDrawn="1"/>
        </p:nvSpPr>
        <p:spPr>
          <a:xfrm>
            <a:off x="5434225" y="1369353"/>
            <a:ext cx="1129586" cy="877856"/>
          </a:xfrm>
          <a:custGeom>
            <a:avLst/>
            <a:gdLst>
              <a:gd name="connsiteX0" fmla="*/ 3398830 w 8469948"/>
              <a:gd name="connsiteY0" fmla="*/ 0 h 6582408"/>
              <a:gd name="connsiteX1" fmla="*/ 3398830 w 8469948"/>
              <a:gd name="connsiteY1" fmla="*/ 482685 h 6582408"/>
              <a:gd name="connsiteX2" fmla="*/ 1793166 w 8469948"/>
              <a:gd name="connsiteY2" fmla="*/ 1660359 h 6582408"/>
              <a:gd name="connsiteX3" fmla="*/ 1211624 w 8469948"/>
              <a:gd name="connsiteY3" fmla="*/ 3330238 h 6582408"/>
              <a:gd name="connsiteX4" fmla="*/ 1270635 w 8469948"/>
              <a:gd name="connsiteY4" fmla="*/ 3606330 h 6582408"/>
              <a:gd name="connsiteX5" fmla="*/ 1359151 w 8469948"/>
              <a:gd name="connsiteY5" fmla="*/ 3665356 h 6582408"/>
              <a:gd name="connsiteX6" fmla="*/ 1506678 w 8469948"/>
              <a:gd name="connsiteY6" fmla="*/ 3596809 h 6582408"/>
              <a:gd name="connsiteX7" fmla="*/ 2304275 w 8469948"/>
              <a:gd name="connsiteY7" fmla="*/ 3370224 h 6582408"/>
              <a:gd name="connsiteX8" fmla="*/ 3298892 w 8469948"/>
              <a:gd name="connsiteY8" fmla="*/ 3828155 h 6582408"/>
              <a:gd name="connsiteX9" fmla="*/ 3731955 w 8469948"/>
              <a:gd name="connsiteY9" fmla="*/ 4917290 h 6582408"/>
              <a:gd name="connsiteX10" fmla="*/ 3234171 w 8469948"/>
              <a:gd name="connsiteY10" fmla="*/ 6079731 h 6582408"/>
              <a:gd name="connsiteX11" fmla="*/ 2027305 w 8469948"/>
              <a:gd name="connsiteY11" fmla="*/ 6582409 h 6582408"/>
              <a:gd name="connsiteX12" fmla="*/ 598674 w 8469948"/>
              <a:gd name="connsiteY12" fmla="*/ 5902651 h 6582408"/>
              <a:gd name="connsiteX13" fmla="*/ 0 w 8469948"/>
              <a:gd name="connsiteY13" fmla="*/ 4079494 h 6582408"/>
              <a:gd name="connsiteX14" fmla="*/ 817585 w 8469948"/>
              <a:gd name="connsiteY14" fmla="*/ 1694632 h 6582408"/>
              <a:gd name="connsiteX15" fmla="*/ 3398830 w 8469948"/>
              <a:gd name="connsiteY15" fmla="*/ 0 h 6582408"/>
              <a:gd name="connsiteX16" fmla="*/ 8136823 w 8469948"/>
              <a:gd name="connsiteY16" fmla="*/ 0 h 6582408"/>
              <a:gd name="connsiteX17" fmla="*/ 8136823 w 8469948"/>
              <a:gd name="connsiteY17" fmla="*/ 482685 h 6582408"/>
              <a:gd name="connsiteX18" fmla="*/ 6531159 w 8469948"/>
              <a:gd name="connsiteY18" fmla="*/ 1660359 h 6582408"/>
              <a:gd name="connsiteX19" fmla="*/ 5949618 w 8469948"/>
              <a:gd name="connsiteY19" fmla="*/ 3330238 h 6582408"/>
              <a:gd name="connsiteX20" fmla="*/ 6008628 w 8469948"/>
              <a:gd name="connsiteY20" fmla="*/ 3606330 h 6582408"/>
              <a:gd name="connsiteX21" fmla="*/ 6097144 w 8469948"/>
              <a:gd name="connsiteY21" fmla="*/ 3665356 h 6582408"/>
              <a:gd name="connsiteX22" fmla="*/ 6244671 w 8469948"/>
              <a:gd name="connsiteY22" fmla="*/ 3596809 h 6582408"/>
              <a:gd name="connsiteX23" fmla="*/ 7042269 w 8469948"/>
              <a:gd name="connsiteY23" fmla="*/ 3370224 h 6582408"/>
              <a:gd name="connsiteX24" fmla="*/ 8036886 w 8469948"/>
              <a:gd name="connsiteY24" fmla="*/ 3828155 h 6582408"/>
              <a:gd name="connsiteX25" fmla="*/ 8469948 w 8469948"/>
              <a:gd name="connsiteY25" fmla="*/ 4917290 h 6582408"/>
              <a:gd name="connsiteX26" fmla="*/ 7972164 w 8469948"/>
              <a:gd name="connsiteY26" fmla="*/ 6079731 h 6582408"/>
              <a:gd name="connsiteX27" fmla="*/ 6765299 w 8469948"/>
              <a:gd name="connsiteY27" fmla="*/ 6582409 h 6582408"/>
              <a:gd name="connsiteX28" fmla="*/ 5336667 w 8469948"/>
              <a:gd name="connsiteY28" fmla="*/ 5902651 h 6582408"/>
              <a:gd name="connsiteX29" fmla="*/ 4736090 w 8469948"/>
              <a:gd name="connsiteY29" fmla="*/ 4079494 h 6582408"/>
              <a:gd name="connsiteX30" fmla="*/ 5553675 w 8469948"/>
              <a:gd name="connsiteY30" fmla="*/ 1694632 h 6582408"/>
              <a:gd name="connsiteX31" fmla="*/ 8136823 w 8469948"/>
              <a:gd name="connsiteY31" fmla="*/ 0 h 6582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8469948" h="6582408">
                <a:moveTo>
                  <a:pt x="3398830" y="0"/>
                </a:moveTo>
                <a:lnTo>
                  <a:pt x="3398830" y="482685"/>
                </a:lnTo>
                <a:cubicBezTo>
                  <a:pt x="2715447" y="732119"/>
                  <a:pt x="2180543" y="1125312"/>
                  <a:pt x="1793166" y="1660359"/>
                </a:cubicBezTo>
                <a:cubicBezTo>
                  <a:pt x="1405789" y="2195406"/>
                  <a:pt x="1211624" y="2752349"/>
                  <a:pt x="1211624" y="3330238"/>
                </a:cubicBezTo>
                <a:cubicBezTo>
                  <a:pt x="1211624" y="3454955"/>
                  <a:pt x="1231612" y="3547303"/>
                  <a:pt x="1270635" y="3606330"/>
                </a:cubicBezTo>
                <a:cubicBezTo>
                  <a:pt x="1296333" y="3645363"/>
                  <a:pt x="1326790" y="3665356"/>
                  <a:pt x="1359151" y="3665356"/>
                </a:cubicBezTo>
                <a:cubicBezTo>
                  <a:pt x="1391512" y="3665356"/>
                  <a:pt x="1441005" y="3642507"/>
                  <a:pt x="1506678" y="3596809"/>
                </a:cubicBezTo>
                <a:cubicBezTo>
                  <a:pt x="1717023" y="3445435"/>
                  <a:pt x="1982571" y="3370224"/>
                  <a:pt x="2304275" y="3370224"/>
                </a:cubicBezTo>
                <a:cubicBezTo>
                  <a:pt x="2678327" y="3370224"/>
                  <a:pt x="3010501" y="3522550"/>
                  <a:pt x="3298892" y="3828155"/>
                </a:cubicBezTo>
                <a:cubicBezTo>
                  <a:pt x="3588235" y="4133760"/>
                  <a:pt x="3731955" y="4496488"/>
                  <a:pt x="3731955" y="4917290"/>
                </a:cubicBezTo>
                <a:cubicBezTo>
                  <a:pt x="3731955" y="5357132"/>
                  <a:pt x="3566344" y="5744613"/>
                  <a:pt x="3234171" y="6079731"/>
                </a:cubicBezTo>
                <a:cubicBezTo>
                  <a:pt x="2902949" y="6414849"/>
                  <a:pt x="2500343" y="6582409"/>
                  <a:pt x="2027305" y="6582409"/>
                </a:cubicBezTo>
                <a:cubicBezTo>
                  <a:pt x="1475269" y="6582409"/>
                  <a:pt x="999376" y="6355823"/>
                  <a:pt x="598674" y="5902651"/>
                </a:cubicBezTo>
                <a:cubicBezTo>
                  <a:pt x="199875" y="5448528"/>
                  <a:pt x="0" y="4841126"/>
                  <a:pt x="0" y="4079494"/>
                </a:cubicBezTo>
                <a:cubicBezTo>
                  <a:pt x="0" y="3192192"/>
                  <a:pt x="272211" y="2398190"/>
                  <a:pt x="817585" y="1694632"/>
                </a:cubicBezTo>
                <a:cubicBezTo>
                  <a:pt x="1362958" y="992026"/>
                  <a:pt x="2223373" y="427466"/>
                  <a:pt x="3398830" y="0"/>
                </a:cubicBezTo>
                <a:close/>
                <a:moveTo>
                  <a:pt x="8136823" y="0"/>
                </a:moveTo>
                <a:lnTo>
                  <a:pt x="8136823" y="482685"/>
                </a:lnTo>
                <a:cubicBezTo>
                  <a:pt x="7453440" y="732119"/>
                  <a:pt x="6918537" y="1125312"/>
                  <a:pt x="6531159" y="1660359"/>
                </a:cubicBezTo>
                <a:cubicBezTo>
                  <a:pt x="6143782" y="2195406"/>
                  <a:pt x="5949618" y="2752349"/>
                  <a:pt x="5949618" y="3330238"/>
                </a:cubicBezTo>
                <a:cubicBezTo>
                  <a:pt x="5949618" y="3454955"/>
                  <a:pt x="5969605" y="3547303"/>
                  <a:pt x="6008628" y="3606330"/>
                </a:cubicBezTo>
                <a:cubicBezTo>
                  <a:pt x="6034327" y="3645363"/>
                  <a:pt x="6064784" y="3665356"/>
                  <a:pt x="6097144" y="3665356"/>
                </a:cubicBezTo>
                <a:cubicBezTo>
                  <a:pt x="6129505" y="3665356"/>
                  <a:pt x="6178998" y="3642507"/>
                  <a:pt x="6244671" y="3596809"/>
                </a:cubicBezTo>
                <a:cubicBezTo>
                  <a:pt x="6455017" y="3445435"/>
                  <a:pt x="6720565" y="3370224"/>
                  <a:pt x="7042269" y="3370224"/>
                </a:cubicBezTo>
                <a:cubicBezTo>
                  <a:pt x="7416321" y="3370224"/>
                  <a:pt x="7748494" y="3522550"/>
                  <a:pt x="8036886" y="3828155"/>
                </a:cubicBezTo>
                <a:cubicBezTo>
                  <a:pt x="8326229" y="4133760"/>
                  <a:pt x="8469948" y="4496488"/>
                  <a:pt x="8469948" y="4917290"/>
                </a:cubicBezTo>
                <a:cubicBezTo>
                  <a:pt x="8469948" y="5357132"/>
                  <a:pt x="8304338" y="5744613"/>
                  <a:pt x="7972164" y="6079731"/>
                </a:cubicBezTo>
                <a:cubicBezTo>
                  <a:pt x="7640942" y="6414849"/>
                  <a:pt x="7238337" y="6582409"/>
                  <a:pt x="6765299" y="6582409"/>
                </a:cubicBezTo>
                <a:cubicBezTo>
                  <a:pt x="6213263" y="6582409"/>
                  <a:pt x="5737369" y="6355823"/>
                  <a:pt x="5336667" y="5902651"/>
                </a:cubicBezTo>
                <a:cubicBezTo>
                  <a:pt x="4935965" y="5449480"/>
                  <a:pt x="4736090" y="4842078"/>
                  <a:pt x="4736090" y="4079494"/>
                </a:cubicBezTo>
                <a:cubicBezTo>
                  <a:pt x="4736090" y="3193144"/>
                  <a:pt x="5008301" y="2398190"/>
                  <a:pt x="5553675" y="1694632"/>
                </a:cubicBezTo>
                <a:cubicBezTo>
                  <a:pt x="6100952" y="992026"/>
                  <a:pt x="6961367" y="427466"/>
                  <a:pt x="8136823" y="0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 w="951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Graphic 12">
            <a:extLst>
              <a:ext uri="{FF2B5EF4-FFF2-40B4-BE49-F238E27FC236}">
                <a16:creationId xmlns:a16="http://schemas.microsoft.com/office/drawing/2014/main" id="{5BB19120-384D-0B4D-BFFB-2338197C9CFF}"/>
              </a:ext>
            </a:extLst>
          </p:cNvPr>
          <p:cNvSpPr/>
          <p:nvPr userDrawn="1"/>
        </p:nvSpPr>
        <p:spPr>
          <a:xfrm rot="10800000">
            <a:off x="10872396" y="5538457"/>
            <a:ext cx="1129586" cy="877856"/>
          </a:xfrm>
          <a:custGeom>
            <a:avLst/>
            <a:gdLst>
              <a:gd name="connsiteX0" fmla="*/ 3398830 w 8469948"/>
              <a:gd name="connsiteY0" fmla="*/ 0 h 6582408"/>
              <a:gd name="connsiteX1" fmla="*/ 3398830 w 8469948"/>
              <a:gd name="connsiteY1" fmla="*/ 482685 h 6582408"/>
              <a:gd name="connsiteX2" fmla="*/ 1793166 w 8469948"/>
              <a:gd name="connsiteY2" fmla="*/ 1660359 h 6582408"/>
              <a:gd name="connsiteX3" fmla="*/ 1211624 w 8469948"/>
              <a:gd name="connsiteY3" fmla="*/ 3330238 h 6582408"/>
              <a:gd name="connsiteX4" fmla="*/ 1270635 w 8469948"/>
              <a:gd name="connsiteY4" fmla="*/ 3606330 h 6582408"/>
              <a:gd name="connsiteX5" fmla="*/ 1359151 w 8469948"/>
              <a:gd name="connsiteY5" fmla="*/ 3665356 h 6582408"/>
              <a:gd name="connsiteX6" fmla="*/ 1506678 w 8469948"/>
              <a:gd name="connsiteY6" fmla="*/ 3596809 h 6582408"/>
              <a:gd name="connsiteX7" fmla="*/ 2304275 w 8469948"/>
              <a:gd name="connsiteY7" fmla="*/ 3370224 h 6582408"/>
              <a:gd name="connsiteX8" fmla="*/ 3298892 w 8469948"/>
              <a:gd name="connsiteY8" fmla="*/ 3828155 h 6582408"/>
              <a:gd name="connsiteX9" fmla="*/ 3731955 w 8469948"/>
              <a:gd name="connsiteY9" fmla="*/ 4917290 h 6582408"/>
              <a:gd name="connsiteX10" fmla="*/ 3234171 w 8469948"/>
              <a:gd name="connsiteY10" fmla="*/ 6079731 h 6582408"/>
              <a:gd name="connsiteX11" fmla="*/ 2027305 w 8469948"/>
              <a:gd name="connsiteY11" fmla="*/ 6582409 h 6582408"/>
              <a:gd name="connsiteX12" fmla="*/ 598674 w 8469948"/>
              <a:gd name="connsiteY12" fmla="*/ 5902651 h 6582408"/>
              <a:gd name="connsiteX13" fmla="*/ 0 w 8469948"/>
              <a:gd name="connsiteY13" fmla="*/ 4079494 h 6582408"/>
              <a:gd name="connsiteX14" fmla="*/ 817585 w 8469948"/>
              <a:gd name="connsiteY14" fmla="*/ 1694632 h 6582408"/>
              <a:gd name="connsiteX15" fmla="*/ 3398830 w 8469948"/>
              <a:gd name="connsiteY15" fmla="*/ 0 h 6582408"/>
              <a:gd name="connsiteX16" fmla="*/ 8136823 w 8469948"/>
              <a:gd name="connsiteY16" fmla="*/ 0 h 6582408"/>
              <a:gd name="connsiteX17" fmla="*/ 8136823 w 8469948"/>
              <a:gd name="connsiteY17" fmla="*/ 482685 h 6582408"/>
              <a:gd name="connsiteX18" fmla="*/ 6531159 w 8469948"/>
              <a:gd name="connsiteY18" fmla="*/ 1660359 h 6582408"/>
              <a:gd name="connsiteX19" fmla="*/ 5949618 w 8469948"/>
              <a:gd name="connsiteY19" fmla="*/ 3330238 h 6582408"/>
              <a:gd name="connsiteX20" fmla="*/ 6008628 w 8469948"/>
              <a:gd name="connsiteY20" fmla="*/ 3606330 h 6582408"/>
              <a:gd name="connsiteX21" fmla="*/ 6097144 w 8469948"/>
              <a:gd name="connsiteY21" fmla="*/ 3665356 h 6582408"/>
              <a:gd name="connsiteX22" fmla="*/ 6244671 w 8469948"/>
              <a:gd name="connsiteY22" fmla="*/ 3596809 h 6582408"/>
              <a:gd name="connsiteX23" fmla="*/ 7042269 w 8469948"/>
              <a:gd name="connsiteY23" fmla="*/ 3370224 h 6582408"/>
              <a:gd name="connsiteX24" fmla="*/ 8036886 w 8469948"/>
              <a:gd name="connsiteY24" fmla="*/ 3828155 h 6582408"/>
              <a:gd name="connsiteX25" fmla="*/ 8469948 w 8469948"/>
              <a:gd name="connsiteY25" fmla="*/ 4917290 h 6582408"/>
              <a:gd name="connsiteX26" fmla="*/ 7972164 w 8469948"/>
              <a:gd name="connsiteY26" fmla="*/ 6079731 h 6582408"/>
              <a:gd name="connsiteX27" fmla="*/ 6765299 w 8469948"/>
              <a:gd name="connsiteY27" fmla="*/ 6582409 h 6582408"/>
              <a:gd name="connsiteX28" fmla="*/ 5336667 w 8469948"/>
              <a:gd name="connsiteY28" fmla="*/ 5902651 h 6582408"/>
              <a:gd name="connsiteX29" fmla="*/ 4736090 w 8469948"/>
              <a:gd name="connsiteY29" fmla="*/ 4079494 h 6582408"/>
              <a:gd name="connsiteX30" fmla="*/ 5553675 w 8469948"/>
              <a:gd name="connsiteY30" fmla="*/ 1694632 h 6582408"/>
              <a:gd name="connsiteX31" fmla="*/ 8136823 w 8469948"/>
              <a:gd name="connsiteY31" fmla="*/ 0 h 6582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8469948" h="6582408">
                <a:moveTo>
                  <a:pt x="3398830" y="0"/>
                </a:moveTo>
                <a:lnTo>
                  <a:pt x="3398830" y="482685"/>
                </a:lnTo>
                <a:cubicBezTo>
                  <a:pt x="2715447" y="732119"/>
                  <a:pt x="2180543" y="1125312"/>
                  <a:pt x="1793166" y="1660359"/>
                </a:cubicBezTo>
                <a:cubicBezTo>
                  <a:pt x="1405789" y="2195406"/>
                  <a:pt x="1211624" y="2752349"/>
                  <a:pt x="1211624" y="3330238"/>
                </a:cubicBezTo>
                <a:cubicBezTo>
                  <a:pt x="1211624" y="3454955"/>
                  <a:pt x="1231612" y="3547303"/>
                  <a:pt x="1270635" y="3606330"/>
                </a:cubicBezTo>
                <a:cubicBezTo>
                  <a:pt x="1296333" y="3645363"/>
                  <a:pt x="1326790" y="3665356"/>
                  <a:pt x="1359151" y="3665356"/>
                </a:cubicBezTo>
                <a:cubicBezTo>
                  <a:pt x="1391512" y="3665356"/>
                  <a:pt x="1441005" y="3642507"/>
                  <a:pt x="1506678" y="3596809"/>
                </a:cubicBezTo>
                <a:cubicBezTo>
                  <a:pt x="1717023" y="3445435"/>
                  <a:pt x="1982571" y="3370224"/>
                  <a:pt x="2304275" y="3370224"/>
                </a:cubicBezTo>
                <a:cubicBezTo>
                  <a:pt x="2678327" y="3370224"/>
                  <a:pt x="3010501" y="3522550"/>
                  <a:pt x="3298892" y="3828155"/>
                </a:cubicBezTo>
                <a:cubicBezTo>
                  <a:pt x="3588235" y="4133760"/>
                  <a:pt x="3731955" y="4496488"/>
                  <a:pt x="3731955" y="4917290"/>
                </a:cubicBezTo>
                <a:cubicBezTo>
                  <a:pt x="3731955" y="5357132"/>
                  <a:pt x="3566344" y="5744613"/>
                  <a:pt x="3234171" y="6079731"/>
                </a:cubicBezTo>
                <a:cubicBezTo>
                  <a:pt x="2902949" y="6414849"/>
                  <a:pt x="2500343" y="6582409"/>
                  <a:pt x="2027305" y="6582409"/>
                </a:cubicBezTo>
                <a:cubicBezTo>
                  <a:pt x="1475269" y="6582409"/>
                  <a:pt x="999376" y="6355823"/>
                  <a:pt x="598674" y="5902651"/>
                </a:cubicBezTo>
                <a:cubicBezTo>
                  <a:pt x="199875" y="5448528"/>
                  <a:pt x="0" y="4841126"/>
                  <a:pt x="0" y="4079494"/>
                </a:cubicBezTo>
                <a:cubicBezTo>
                  <a:pt x="0" y="3192192"/>
                  <a:pt x="272211" y="2398190"/>
                  <a:pt x="817585" y="1694632"/>
                </a:cubicBezTo>
                <a:cubicBezTo>
                  <a:pt x="1362958" y="992026"/>
                  <a:pt x="2223373" y="427466"/>
                  <a:pt x="3398830" y="0"/>
                </a:cubicBezTo>
                <a:close/>
                <a:moveTo>
                  <a:pt x="8136823" y="0"/>
                </a:moveTo>
                <a:lnTo>
                  <a:pt x="8136823" y="482685"/>
                </a:lnTo>
                <a:cubicBezTo>
                  <a:pt x="7453440" y="732119"/>
                  <a:pt x="6918537" y="1125312"/>
                  <a:pt x="6531159" y="1660359"/>
                </a:cubicBezTo>
                <a:cubicBezTo>
                  <a:pt x="6143782" y="2195406"/>
                  <a:pt x="5949618" y="2752349"/>
                  <a:pt x="5949618" y="3330238"/>
                </a:cubicBezTo>
                <a:cubicBezTo>
                  <a:pt x="5949618" y="3454955"/>
                  <a:pt x="5969605" y="3547303"/>
                  <a:pt x="6008628" y="3606330"/>
                </a:cubicBezTo>
                <a:cubicBezTo>
                  <a:pt x="6034327" y="3645363"/>
                  <a:pt x="6064784" y="3665356"/>
                  <a:pt x="6097144" y="3665356"/>
                </a:cubicBezTo>
                <a:cubicBezTo>
                  <a:pt x="6129505" y="3665356"/>
                  <a:pt x="6178998" y="3642507"/>
                  <a:pt x="6244671" y="3596809"/>
                </a:cubicBezTo>
                <a:cubicBezTo>
                  <a:pt x="6455017" y="3445435"/>
                  <a:pt x="6720565" y="3370224"/>
                  <a:pt x="7042269" y="3370224"/>
                </a:cubicBezTo>
                <a:cubicBezTo>
                  <a:pt x="7416321" y="3370224"/>
                  <a:pt x="7748494" y="3522550"/>
                  <a:pt x="8036886" y="3828155"/>
                </a:cubicBezTo>
                <a:cubicBezTo>
                  <a:pt x="8326229" y="4133760"/>
                  <a:pt x="8469948" y="4496488"/>
                  <a:pt x="8469948" y="4917290"/>
                </a:cubicBezTo>
                <a:cubicBezTo>
                  <a:pt x="8469948" y="5357132"/>
                  <a:pt x="8304338" y="5744613"/>
                  <a:pt x="7972164" y="6079731"/>
                </a:cubicBezTo>
                <a:cubicBezTo>
                  <a:pt x="7640942" y="6414849"/>
                  <a:pt x="7238337" y="6582409"/>
                  <a:pt x="6765299" y="6582409"/>
                </a:cubicBezTo>
                <a:cubicBezTo>
                  <a:pt x="6213263" y="6582409"/>
                  <a:pt x="5737369" y="6355823"/>
                  <a:pt x="5336667" y="5902651"/>
                </a:cubicBezTo>
                <a:cubicBezTo>
                  <a:pt x="4935965" y="5449480"/>
                  <a:pt x="4736090" y="4842078"/>
                  <a:pt x="4736090" y="4079494"/>
                </a:cubicBezTo>
                <a:cubicBezTo>
                  <a:pt x="4736090" y="3193144"/>
                  <a:pt x="5008301" y="2398190"/>
                  <a:pt x="5553675" y="1694632"/>
                </a:cubicBezTo>
                <a:cubicBezTo>
                  <a:pt x="6100952" y="992026"/>
                  <a:pt x="6961367" y="427466"/>
                  <a:pt x="8136823" y="0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 w="951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AACE28B-1EB8-5D4D-90E2-C0D0BD9BC1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8311" y="2357933"/>
            <a:ext cx="6137769" cy="2749507"/>
          </a:xfrm>
          <a:prstGeom prst="rect">
            <a:avLst/>
          </a:prstGeom>
        </p:spPr>
        <p:txBody>
          <a:bodyPr anchor="t"/>
          <a:lstStyle>
            <a:lvl1pPr>
              <a:lnSpc>
                <a:spcPct val="100000"/>
              </a:lnSpc>
              <a:buFontTx/>
              <a:buNone/>
              <a:defRPr sz="2400" b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lnSpc>
                <a:spcPct val="100000"/>
              </a:lnSpc>
              <a:buFontTx/>
              <a:buNone/>
              <a:defRPr sz="2400" b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0" indent="0">
              <a:lnSpc>
                <a:spcPct val="100000"/>
              </a:lnSpc>
              <a:buFontTx/>
              <a:buNone/>
              <a:defRPr sz="2400" b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0" indent="0">
              <a:lnSpc>
                <a:spcPct val="100000"/>
              </a:lnSpc>
              <a:buFontTx/>
              <a:buNone/>
              <a:defRPr sz="2400" b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0" indent="0">
              <a:lnSpc>
                <a:spcPct val="100000"/>
              </a:lnSpc>
              <a:buFontTx/>
              <a:buNone/>
              <a:defRPr sz="2400" b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F0E92FA0-5D22-284D-95B1-FF8A49888AA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78311" y="5423338"/>
            <a:ext cx="6137769" cy="33259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buFontTx/>
              <a:buNone/>
              <a:defRPr sz="14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>
              <a:lnSpc>
                <a:spcPct val="100000"/>
              </a:lnSpc>
              <a:buFontTx/>
              <a:buNone/>
              <a:defRPr sz="2000" b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0" indent="0">
              <a:lnSpc>
                <a:spcPct val="100000"/>
              </a:lnSpc>
              <a:buFontTx/>
              <a:buNone/>
              <a:defRPr sz="2000" b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0" indent="0">
              <a:lnSpc>
                <a:spcPct val="100000"/>
              </a:lnSpc>
              <a:buFontTx/>
              <a:buNone/>
              <a:defRPr sz="2000" b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0" indent="0">
              <a:lnSpc>
                <a:spcPct val="100000"/>
              </a:lnSpc>
              <a:buFontTx/>
              <a:buNone/>
              <a:defRPr sz="2000" b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 dirty="0"/>
              <a:t>Name  |  Occupation</a:t>
            </a:r>
          </a:p>
        </p:txBody>
      </p:sp>
      <p:sp>
        <p:nvSpPr>
          <p:cNvPr id="17" name="Title Placeholder 3">
            <a:extLst>
              <a:ext uri="{FF2B5EF4-FFF2-40B4-BE49-F238E27FC236}">
                <a16:creationId xmlns:a16="http://schemas.microsoft.com/office/drawing/2014/main" id="{F70F4344-B759-134A-825D-7794C337AC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11480800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A0546E00-53BA-8845-B47B-C5E2F938D73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5281" y="599920"/>
            <a:ext cx="11480800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D198A50-276A-2545-A17A-A3EB68A46614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335279" y="6507948"/>
            <a:ext cx="4965881" cy="35005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2" name="Slide Number Placeholder 24">
            <a:extLst>
              <a:ext uri="{FF2B5EF4-FFF2-40B4-BE49-F238E27FC236}">
                <a16:creationId xmlns:a16="http://schemas.microsoft.com/office/drawing/2014/main" id="{461BFE36-C0CE-7747-85B4-1CD5ADFD7929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bg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bg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8910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886418C7-77AA-DF49-8C63-507F5CE4476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-1" y="1"/>
            <a:ext cx="7439891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03CAFD9-3C10-F046-BB01-6452E3650BA4}"/>
              </a:ext>
            </a:extLst>
          </p:cNvPr>
          <p:cNvSpPr/>
          <p:nvPr userDrawn="1"/>
        </p:nvSpPr>
        <p:spPr>
          <a:xfrm>
            <a:off x="7439891" y="0"/>
            <a:ext cx="4752109" cy="6858000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blurRad="762000" dist="254000" dir="5400000" algn="t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tIns="0" rIns="640080" rtlCol="0" anchor="ctr"/>
          <a:lstStyle/>
          <a:p>
            <a:pPr>
              <a:lnSpc>
                <a:spcPct val="130000"/>
              </a:lnSpc>
              <a:spcBef>
                <a:spcPts val="1000"/>
              </a:spcBef>
            </a:pPr>
            <a:endParaRPr lang="en-US" dirty="0">
              <a:solidFill>
                <a:srgbClr val="000000">
                  <a:alpha val="70000"/>
                </a:srgbClr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E0A4275-B817-1A4C-B342-27DA5DBAC69B}"/>
              </a:ext>
            </a:extLst>
          </p:cNvPr>
          <p:cNvSpPr/>
          <p:nvPr userDrawn="1"/>
        </p:nvSpPr>
        <p:spPr>
          <a:xfrm>
            <a:off x="7439891" y="5470654"/>
            <a:ext cx="3049148" cy="68684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241300" dist="1143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tlCol="0" anchor="ctr"/>
          <a:lstStyle/>
          <a:p>
            <a:pPr>
              <a:lnSpc>
                <a:spcPct val="130000"/>
              </a:lnSpc>
            </a:pPr>
            <a:endParaRPr lang="en-US" sz="1000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Graphic 12">
            <a:extLst>
              <a:ext uri="{FF2B5EF4-FFF2-40B4-BE49-F238E27FC236}">
                <a16:creationId xmlns:a16="http://schemas.microsoft.com/office/drawing/2014/main" id="{3B2F5730-299B-4B4B-AC10-750F6D4FF957}"/>
              </a:ext>
            </a:extLst>
          </p:cNvPr>
          <p:cNvSpPr/>
          <p:nvPr userDrawn="1"/>
        </p:nvSpPr>
        <p:spPr>
          <a:xfrm rot="10800000">
            <a:off x="11371238" y="4916454"/>
            <a:ext cx="663806" cy="515876"/>
          </a:xfrm>
          <a:custGeom>
            <a:avLst/>
            <a:gdLst>
              <a:gd name="connsiteX0" fmla="*/ 3398830 w 8469948"/>
              <a:gd name="connsiteY0" fmla="*/ 0 h 6582408"/>
              <a:gd name="connsiteX1" fmla="*/ 3398830 w 8469948"/>
              <a:gd name="connsiteY1" fmla="*/ 482685 h 6582408"/>
              <a:gd name="connsiteX2" fmla="*/ 1793166 w 8469948"/>
              <a:gd name="connsiteY2" fmla="*/ 1660359 h 6582408"/>
              <a:gd name="connsiteX3" fmla="*/ 1211624 w 8469948"/>
              <a:gd name="connsiteY3" fmla="*/ 3330238 h 6582408"/>
              <a:gd name="connsiteX4" fmla="*/ 1270635 w 8469948"/>
              <a:gd name="connsiteY4" fmla="*/ 3606330 h 6582408"/>
              <a:gd name="connsiteX5" fmla="*/ 1359151 w 8469948"/>
              <a:gd name="connsiteY5" fmla="*/ 3665356 h 6582408"/>
              <a:gd name="connsiteX6" fmla="*/ 1506678 w 8469948"/>
              <a:gd name="connsiteY6" fmla="*/ 3596809 h 6582408"/>
              <a:gd name="connsiteX7" fmla="*/ 2304275 w 8469948"/>
              <a:gd name="connsiteY7" fmla="*/ 3370224 h 6582408"/>
              <a:gd name="connsiteX8" fmla="*/ 3298892 w 8469948"/>
              <a:gd name="connsiteY8" fmla="*/ 3828155 h 6582408"/>
              <a:gd name="connsiteX9" fmla="*/ 3731955 w 8469948"/>
              <a:gd name="connsiteY9" fmla="*/ 4917290 h 6582408"/>
              <a:gd name="connsiteX10" fmla="*/ 3234171 w 8469948"/>
              <a:gd name="connsiteY10" fmla="*/ 6079731 h 6582408"/>
              <a:gd name="connsiteX11" fmla="*/ 2027305 w 8469948"/>
              <a:gd name="connsiteY11" fmla="*/ 6582409 h 6582408"/>
              <a:gd name="connsiteX12" fmla="*/ 598674 w 8469948"/>
              <a:gd name="connsiteY12" fmla="*/ 5902651 h 6582408"/>
              <a:gd name="connsiteX13" fmla="*/ 0 w 8469948"/>
              <a:gd name="connsiteY13" fmla="*/ 4079494 h 6582408"/>
              <a:gd name="connsiteX14" fmla="*/ 817585 w 8469948"/>
              <a:gd name="connsiteY14" fmla="*/ 1694632 h 6582408"/>
              <a:gd name="connsiteX15" fmla="*/ 3398830 w 8469948"/>
              <a:gd name="connsiteY15" fmla="*/ 0 h 6582408"/>
              <a:gd name="connsiteX16" fmla="*/ 8136823 w 8469948"/>
              <a:gd name="connsiteY16" fmla="*/ 0 h 6582408"/>
              <a:gd name="connsiteX17" fmla="*/ 8136823 w 8469948"/>
              <a:gd name="connsiteY17" fmla="*/ 482685 h 6582408"/>
              <a:gd name="connsiteX18" fmla="*/ 6531159 w 8469948"/>
              <a:gd name="connsiteY18" fmla="*/ 1660359 h 6582408"/>
              <a:gd name="connsiteX19" fmla="*/ 5949618 w 8469948"/>
              <a:gd name="connsiteY19" fmla="*/ 3330238 h 6582408"/>
              <a:gd name="connsiteX20" fmla="*/ 6008628 w 8469948"/>
              <a:gd name="connsiteY20" fmla="*/ 3606330 h 6582408"/>
              <a:gd name="connsiteX21" fmla="*/ 6097144 w 8469948"/>
              <a:gd name="connsiteY21" fmla="*/ 3665356 h 6582408"/>
              <a:gd name="connsiteX22" fmla="*/ 6244671 w 8469948"/>
              <a:gd name="connsiteY22" fmla="*/ 3596809 h 6582408"/>
              <a:gd name="connsiteX23" fmla="*/ 7042269 w 8469948"/>
              <a:gd name="connsiteY23" fmla="*/ 3370224 h 6582408"/>
              <a:gd name="connsiteX24" fmla="*/ 8036886 w 8469948"/>
              <a:gd name="connsiteY24" fmla="*/ 3828155 h 6582408"/>
              <a:gd name="connsiteX25" fmla="*/ 8469948 w 8469948"/>
              <a:gd name="connsiteY25" fmla="*/ 4917290 h 6582408"/>
              <a:gd name="connsiteX26" fmla="*/ 7972164 w 8469948"/>
              <a:gd name="connsiteY26" fmla="*/ 6079731 h 6582408"/>
              <a:gd name="connsiteX27" fmla="*/ 6765299 w 8469948"/>
              <a:gd name="connsiteY27" fmla="*/ 6582409 h 6582408"/>
              <a:gd name="connsiteX28" fmla="*/ 5336667 w 8469948"/>
              <a:gd name="connsiteY28" fmla="*/ 5902651 h 6582408"/>
              <a:gd name="connsiteX29" fmla="*/ 4736090 w 8469948"/>
              <a:gd name="connsiteY29" fmla="*/ 4079494 h 6582408"/>
              <a:gd name="connsiteX30" fmla="*/ 5553675 w 8469948"/>
              <a:gd name="connsiteY30" fmla="*/ 1694632 h 6582408"/>
              <a:gd name="connsiteX31" fmla="*/ 8136823 w 8469948"/>
              <a:gd name="connsiteY31" fmla="*/ 0 h 6582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8469948" h="6582408">
                <a:moveTo>
                  <a:pt x="3398830" y="0"/>
                </a:moveTo>
                <a:lnTo>
                  <a:pt x="3398830" y="482685"/>
                </a:lnTo>
                <a:cubicBezTo>
                  <a:pt x="2715447" y="732119"/>
                  <a:pt x="2180543" y="1125312"/>
                  <a:pt x="1793166" y="1660359"/>
                </a:cubicBezTo>
                <a:cubicBezTo>
                  <a:pt x="1405789" y="2195406"/>
                  <a:pt x="1211624" y="2752349"/>
                  <a:pt x="1211624" y="3330238"/>
                </a:cubicBezTo>
                <a:cubicBezTo>
                  <a:pt x="1211624" y="3454955"/>
                  <a:pt x="1231612" y="3547303"/>
                  <a:pt x="1270635" y="3606330"/>
                </a:cubicBezTo>
                <a:cubicBezTo>
                  <a:pt x="1296333" y="3645363"/>
                  <a:pt x="1326790" y="3665356"/>
                  <a:pt x="1359151" y="3665356"/>
                </a:cubicBezTo>
                <a:cubicBezTo>
                  <a:pt x="1391512" y="3665356"/>
                  <a:pt x="1441005" y="3642507"/>
                  <a:pt x="1506678" y="3596809"/>
                </a:cubicBezTo>
                <a:cubicBezTo>
                  <a:pt x="1717023" y="3445435"/>
                  <a:pt x="1982571" y="3370224"/>
                  <a:pt x="2304275" y="3370224"/>
                </a:cubicBezTo>
                <a:cubicBezTo>
                  <a:pt x="2678327" y="3370224"/>
                  <a:pt x="3010501" y="3522550"/>
                  <a:pt x="3298892" y="3828155"/>
                </a:cubicBezTo>
                <a:cubicBezTo>
                  <a:pt x="3588235" y="4133760"/>
                  <a:pt x="3731955" y="4496488"/>
                  <a:pt x="3731955" y="4917290"/>
                </a:cubicBezTo>
                <a:cubicBezTo>
                  <a:pt x="3731955" y="5357132"/>
                  <a:pt x="3566344" y="5744613"/>
                  <a:pt x="3234171" y="6079731"/>
                </a:cubicBezTo>
                <a:cubicBezTo>
                  <a:pt x="2902949" y="6414849"/>
                  <a:pt x="2500343" y="6582409"/>
                  <a:pt x="2027305" y="6582409"/>
                </a:cubicBezTo>
                <a:cubicBezTo>
                  <a:pt x="1475269" y="6582409"/>
                  <a:pt x="999376" y="6355823"/>
                  <a:pt x="598674" y="5902651"/>
                </a:cubicBezTo>
                <a:cubicBezTo>
                  <a:pt x="199875" y="5448528"/>
                  <a:pt x="0" y="4841126"/>
                  <a:pt x="0" y="4079494"/>
                </a:cubicBezTo>
                <a:cubicBezTo>
                  <a:pt x="0" y="3192192"/>
                  <a:pt x="272211" y="2398190"/>
                  <a:pt x="817585" y="1694632"/>
                </a:cubicBezTo>
                <a:cubicBezTo>
                  <a:pt x="1362958" y="992026"/>
                  <a:pt x="2223373" y="427466"/>
                  <a:pt x="3398830" y="0"/>
                </a:cubicBezTo>
                <a:close/>
                <a:moveTo>
                  <a:pt x="8136823" y="0"/>
                </a:moveTo>
                <a:lnTo>
                  <a:pt x="8136823" y="482685"/>
                </a:lnTo>
                <a:cubicBezTo>
                  <a:pt x="7453440" y="732119"/>
                  <a:pt x="6918537" y="1125312"/>
                  <a:pt x="6531159" y="1660359"/>
                </a:cubicBezTo>
                <a:cubicBezTo>
                  <a:pt x="6143782" y="2195406"/>
                  <a:pt x="5949618" y="2752349"/>
                  <a:pt x="5949618" y="3330238"/>
                </a:cubicBezTo>
                <a:cubicBezTo>
                  <a:pt x="5949618" y="3454955"/>
                  <a:pt x="5969605" y="3547303"/>
                  <a:pt x="6008628" y="3606330"/>
                </a:cubicBezTo>
                <a:cubicBezTo>
                  <a:pt x="6034327" y="3645363"/>
                  <a:pt x="6064784" y="3665356"/>
                  <a:pt x="6097144" y="3665356"/>
                </a:cubicBezTo>
                <a:cubicBezTo>
                  <a:pt x="6129505" y="3665356"/>
                  <a:pt x="6178998" y="3642507"/>
                  <a:pt x="6244671" y="3596809"/>
                </a:cubicBezTo>
                <a:cubicBezTo>
                  <a:pt x="6455017" y="3445435"/>
                  <a:pt x="6720565" y="3370224"/>
                  <a:pt x="7042269" y="3370224"/>
                </a:cubicBezTo>
                <a:cubicBezTo>
                  <a:pt x="7416321" y="3370224"/>
                  <a:pt x="7748494" y="3522550"/>
                  <a:pt x="8036886" y="3828155"/>
                </a:cubicBezTo>
                <a:cubicBezTo>
                  <a:pt x="8326229" y="4133760"/>
                  <a:pt x="8469948" y="4496488"/>
                  <a:pt x="8469948" y="4917290"/>
                </a:cubicBezTo>
                <a:cubicBezTo>
                  <a:pt x="8469948" y="5357132"/>
                  <a:pt x="8304338" y="5744613"/>
                  <a:pt x="7972164" y="6079731"/>
                </a:cubicBezTo>
                <a:cubicBezTo>
                  <a:pt x="7640942" y="6414849"/>
                  <a:pt x="7238337" y="6582409"/>
                  <a:pt x="6765299" y="6582409"/>
                </a:cubicBezTo>
                <a:cubicBezTo>
                  <a:pt x="6213263" y="6582409"/>
                  <a:pt x="5737369" y="6355823"/>
                  <a:pt x="5336667" y="5902651"/>
                </a:cubicBezTo>
                <a:cubicBezTo>
                  <a:pt x="4935965" y="5449480"/>
                  <a:pt x="4736090" y="4842078"/>
                  <a:pt x="4736090" y="4079494"/>
                </a:cubicBezTo>
                <a:cubicBezTo>
                  <a:pt x="4736090" y="3193144"/>
                  <a:pt x="5008301" y="2398190"/>
                  <a:pt x="5553675" y="1694632"/>
                </a:cubicBezTo>
                <a:cubicBezTo>
                  <a:pt x="6100952" y="992026"/>
                  <a:pt x="6961367" y="427466"/>
                  <a:pt x="8136823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951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1" name="Graphic 12">
            <a:extLst>
              <a:ext uri="{FF2B5EF4-FFF2-40B4-BE49-F238E27FC236}">
                <a16:creationId xmlns:a16="http://schemas.microsoft.com/office/drawing/2014/main" id="{D0D7D08B-2F1B-214F-8107-147073EA16A5}"/>
              </a:ext>
            </a:extLst>
          </p:cNvPr>
          <p:cNvSpPr/>
          <p:nvPr userDrawn="1"/>
        </p:nvSpPr>
        <p:spPr>
          <a:xfrm>
            <a:off x="7607241" y="463539"/>
            <a:ext cx="663806" cy="515876"/>
          </a:xfrm>
          <a:custGeom>
            <a:avLst/>
            <a:gdLst>
              <a:gd name="connsiteX0" fmla="*/ 3398830 w 8469948"/>
              <a:gd name="connsiteY0" fmla="*/ 0 h 6582408"/>
              <a:gd name="connsiteX1" fmla="*/ 3398830 w 8469948"/>
              <a:gd name="connsiteY1" fmla="*/ 482685 h 6582408"/>
              <a:gd name="connsiteX2" fmla="*/ 1793166 w 8469948"/>
              <a:gd name="connsiteY2" fmla="*/ 1660359 h 6582408"/>
              <a:gd name="connsiteX3" fmla="*/ 1211624 w 8469948"/>
              <a:gd name="connsiteY3" fmla="*/ 3330238 h 6582408"/>
              <a:gd name="connsiteX4" fmla="*/ 1270635 w 8469948"/>
              <a:gd name="connsiteY4" fmla="*/ 3606330 h 6582408"/>
              <a:gd name="connsiteX5" fmla="*/ 1359151 w 8469948"/>
              <a:gd name="connsiteY5" fmla="*/ 3665356 h 6582408"/>
              <a:gd name="connsiteX6" fmla="*/ 1506678 w 8469948"/>
              <a:gd name="connsiteY6" fmla="*/ 3596809 h 6582408"/>
              <a:gd name="connsiteX7" fmla="*/ 2304275 w 8469948"/>
              <a:gd name="connsiteY7" fmla="*/ 3370224 h 6582408"/>
              <a:gd name="connsiteX8" fmla="*/ 3298892 w 8469948"/>
              <a:gd name="connsiteY8" fmla="*/ 3828155 h 6582408"/>
              <a:gd name="connsiteX9" fmla="*/ 3731955 w 8469948"/>
              <a:gd name="connsiteY9" fmla="*/ 4917290 h 6582408"/>
              <a:gd name="connsiteX10" fmla="*/ 3234171 w 8469948"/>
              <a:gd name="connsiteY10" fmla="*/ 6079731 h 6582408"/>
              <a:gd name="connsiteX11" fmla="*/ 2027305 w 8469948"/>
              <a:gd name="connsiteY11" fmla="*/ 6582409 h 6582408"/>
              <a:gd name="connsiteX12" fmla="*/ 598674 w 8469948"/>
              <a:gd name="connsiteY12" fmla="*/ 5902651 h 6582408"/>
              <a:gd name="connsiteX13" fmla="*/ 0 w 8469948"/>
              <a:gd name="connsiteY13" fmla="*/ 4079494 h 6582408"/>
              <a:gd name="connsiteX14" fmla="*/ 817585 w 8469948"/>
              <a:gd name="connsiteY14" fmla="*/ 1694632 h 6582408"/>
              <a:gd name="connsiteX15" fmla="*/ 3398830 w 8469948"/>
              <a:gd name="connsiteY15" fmla="*/ 0 h 6582408"/>
              <a:gd name="connsiteX16" fmla="*/ 8136823 w 8469948"/>
              <a:gd name="connsiteY16" fmla="*/ 0 h 6582408"/>
              <a:gd name="connsiteX17" fmla="*/ 8136823 w 8469948"/>
              <a:gd name="connsiteY17" fmla="*/ 482685 h 6582408"/>
              <a:gd name="connsiteX18" fmla="*/ 6531159 w 8469948"/>
              <a:gd name="connsiteY18" fmla="*/ 1660359 h 6582408"/>
              <a:gd name="connsiteX19" fmla="*/ 5949618 w 8469948"/>
              <a:gd name="connsiteY19" fmla="*/ 3330238 h 6582408"/>
              <a:gd name="connsiteX20" fmla="*/ 6008628 w 8469948"/>
              <a:gd name="connsiteY20" fmla="*/ 3606330 h 6582408"/>
              <a:gd name="connsiteX21" fmla="*/ 6097144 w 8469948"/>
              <a:gd name="connsiteY21" fmla="*/ 3665356 h 6582408"/>
              <a:gd name="connsiteX22" fmla="*/ 6244671 w 8469948"/>
              <a:gd name="connsiteY22" fmla="*/ 3596809 h 6582408"/>
              <a:gd name="connsiteX23" fmla="*/ 7042269 w 8469948"/>
              <a:gd name="connsiteY23" fmla="*/ 3370224 h 6582408"/>
              <a:gd name="connsiteX24" fmla="*/ 8036886 w 8469948"/>
              <a:gd name="connsiteY24" fmla="*/ 3828155 h 6582408"/>
              <a:gd name="connsiteX25" fmla="*/ 8469948 w 8469948"/>
              <a:gd name="connsiteY25" fmla="*/ 4917290 h 6582408"/>
              <a:gd name="connsiteX26" fmla="*/ 7972164 w 8469948"/>
              <a:gd name="connsiteY26" fmla="*/ 6079731 h 6582408"/>
              <a:gd name="connsiteX27" fmla="*/ 6765299 w 8469948"/>
              <a:gd name="connsiteY27" fmla="*/ 6582409 h 6582408"/>
              <a:gd name="connsiteX28" fmla="*/ 5336667 w 8469948"/>
              <a:gd name="connsiteY28" fmla="*/ 5902651 h 6582408"/>
              <a:gd name="connsiteX29" fmla="*/ 4736090 w 8469948"/>
              <a:gd name="connsiteY29" fmla="*/ 4079494 h 6582408"/>
              <a:gd name="connsiteX30" fmla="*/ 5553675 w 8469948"/>
              <a:gd name="connsiteY30" fmla="*/ 1694632 h 6582408"/>
              <a:gd name="connsiteX31" fmla="*/ 8136823 w 8469948"/>
              <a:gd name="connsiteY31" fmla="*/ 0 h 6582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8469948" h="6582408">
                <a:moveTo>
                  <a:pt x="3398830" y="0"/>
                </a:moveTo>
                <a:lnTo>
                  <a:pt x="3398830" y="482685"/>
                </a:lnTo>
                <a:cubicBezTo>
                  <a:pt x="2715447" y="732119"/>
                  <a:pt x="2180543" y="1125312"/>
                  <a:pt x="1793166" y="1660359"/>
                </a:cubicBezTo>
                <a:cubicBezTo>
                  <a:pt x="1405789" y="2195406"/>
                  <a:pt x="1211624" y="2752349"/>
                  <a:pt x="1211624" y="3330238"/>
                </a:cubicBezTo>
                <a:cubicBezTo>
                  <a:pt x="1211624" y="3454955"/>
                  <a:pt x="1231612" y="3547303"/>
                  <a:pt x="1270635" y="3606330"/>
                </a:cubicBezTo>
                <a:cubicBezTo>
                  <a:pt x="1296333" y="3645363"/>
                  <a:pt x="1326790" y="3665356"/>
                  <a:pt x="1359151" y="3665356"/>
                </a:cubicBezTo>
                <a:cubicBezTo>
                  <a:pt x="1391512" y="3665356"/>
                  <a:pt x="1441005" y="3642507"/>
                  <a:pt x="1506678" y="3596809"/>
                </a:cubicBezTo>
                <a:cubicBezTo>
                  <a:pt x="1717023" y="3445435"/>
                  <a:pt x="1982571" y="3370224"/>
                  <a:pt x="2304275" y="3370224"/>
                </a:cubicBezTo>
                <a:cubicBezTo>
                  <a:pt x="2678327" y="3370224"/>
                  <a:pt x="3010501" y="3522550"/>
                  <a:pt x="3298892" y="3828155"/>
                </a:cubicBezTo>
                <a:cubicBezTo>
                  <a:pt x="3588235" y="4133760"/>
                  <a:pt x="3731955" y="4496488"/>
                  <a:pt x="3731955" y="4917290"/>
                </a:cubicBezTo>
                <a:cubicBezTo>
                  <a:pt x="3731955" y="5357132"/>
                  <a:pt x="3566344" y="5744613"/>
                  <a:pt x="3234171" y="6079731"/>
                </a:cubicBezTo>
                <a:cubicBezTo>
                  <a:pt x="2902949" y="6414849"/>
                  <a:pt x="2500343" y="6582409"/>
                  <a:pt x="2027305" y="6582409"/>
                </a:cubicBezTo>
                <a:cubicBezTo>
                  <a:pt x="1475269" y="6582409"/>
                  <a:pt x="999376" y="6355823"/>
                  <a:pt x="598674" y="5902651"/>
                </a:cubicBezTo>
                <a:cubicBezTo>
                  <a:pt x="199875" y="5448528"/>
                  <a:pt x="0" y="4841126"/>
                  <a:pt x="0" y="4079494"/>
                </a:cubicBezTo>
                <a:cubicBezTo>
                  <a:pt x="0" y="3192192"/>
                  <a:pt x="272211" y="2398190"/>
                  <a:pt x="817585" y="1694632"/>
                </a:cubicBezTo>
                <a:cubicBezTo>
                  <a:pt x="1362958" y="992026"/>
                  <a:pt x="2223373" y="427466"/>
                  <a:pt x="3398830" y="0"/>
                </a:cubicBezTo>
                <a:close/>
                <a:moveTo>
                  <a:pt x="8136823" y="0"/>
                </a:moveTo>
                <a:lnTo>
                  <a:pt x="8136823" y="482685"/>
                </a:lnTo>
                <a:cubicBezTo>
                  <a:pt x="7453440" y="732119"/>
                  <a:pt x="6918537" y="1125312"/>
                  <a:pt x="6531159" y="1660359"/>
                </a:cubicBezTo>
                <a:cubicBezTo>
                  <a:pt x="6143782" y="2195406"/>
                  <a:pt x="5949618" y="2752349"/>
                  <a:pt x="5949618" y="3330238"/>
                </a:cubicBezTo>
                <a:cubicBezTo>
                  <a:pt x="5949618" y="3454955"/>
                  <a:pt x="5969605" y="3547303"/>
                  <a:pt x="6008628" y="3606330"/>
                </a:cubicBezTo>
                <a:cubicBezTo>
                  <a:pt x="6034327" y="3645363"/>
                  <a:pt x="6064784" y="3665356"/>
                  <a:pt x="6097144" y="3665356"/>
                </a:cubicBezTo>
                <a:cubicBezTo>
                  <a:pt x="6129505" y="3665356"/>
                  <a:pt x="6178998" y="3642507"/>
                  <a:pt x="6244671" y="3596809"/>
                </a:cubicBezTo>
                <a:cubicBezTo>
                  <a:pt x="6455017" y="3445435"/>
                  <a:pt x="6720565" y="3370224"/>
                  <a:pt x="7042269" y="3370224"/>
                </a:cubicBezTo>
                <a:cubicBezTo>
                  <a:pt x="7416321" y="3370224"/>
                  <a:pt x="7748494" y="3522550"/>
                  <a:pt x="8036886" y="3828155"/>
                </a:cubicBezTo>
                <a:cubicBezTo>
                  <a:pt x="8326229" y="4133760"/>
                  <a:pt x="8469948" y="4496488"/>
                  <a:pt x="8469948" y="4917290"/>
                </a:cubicBezTo>
                <a:cubicBezTo>
                  <a:pt x="8469948" y="5357132"/>
                  <a:pt x="8304338" y="5744613"/>
                  <a:pt x="7972164" y="6079731"/>
                </a:cubicBezTo>
                <a:cubicBezTo>
                  <a:pt x="7640942" y="6414849"/>
                  <a:pt x="7238337" y="6582409"/>
                  <a:pt x="6765299" y="6582409"/>
                </a:cubicBezTo>
                <a:cubicBezTo>
                  <a:pt x="6213263" y="6582409"/>
                  <a:pt x="5737369" y="6355823"/>
                  <a:pt x="5336667" y="5902651"/>
                </a:cubicBezTo>
                <a:cubicBezTo>
                  <a:pt x="4935965" y="5449480"/>
                  <a:pt x="4736090" y="4842078"/>
                  <a:pt x="4736090" y="4079494"/>
                </a:cubicBezTo>
                <a:cubicBezTo>
                  <a:pt x="4736090" y="3193144"/>
                  <a:pt x="5008301" y="2398190"/>
                  <a:pt x="5553675" y="1694632"/>
                </a:cubicBezTo>
                <a:cubicBezTo>
                  <a:pt x="6100952" y="992026"/>
                  <a:pt x="6961367" y="427466"/>
                  <a:pt x="8136823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951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A9B944C5-4070-BE4A-81E5-D52949A80C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735330" y="1125720"/>
            <a:ext cx="4149016" cy="3644429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2000" b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lnSpc>
                <a:spcPct val="100000"/>
              </a:lnSpc>
              <a:defRPr sz="2000" b="0">
                <a:solidFill>
                  <a:schemeClr val="tx2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lnSpc>
                <a:spcPct val="100000"/>
              </a:lnSpc>
              <a:defRPr sz="2000" b="0">
                <a:solidFill>
                  <a:schemeClr val="tx2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lnSpc>
                <a:spcPct val="100000"/>
              </a:lnSpc>
              <a:defRPr sz="2000" b="0">
                <a:solidFill>
                  <a:schemeClr val="tx2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lnSpc>
                <a:spcPct val="100000"/>
              </a:lnSpc>
              <a:defRPr sz="2000" b="0">
                <a:solidFill>
                  <a:schemeClr val="tx2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965CB9DE-65CF-9842-937A-F3F371F963B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537477" y="5470653"/>
            <a:ext cx="2951562" cy="686840"/>
          </a:xfrm>
          <a:prstGeom prst="rect">
            <a:avLst/>
          </a:prstGeom>
        </p:spPr>
        <p:txBody>
          <a:bodyPr anchor="ctr"/>
          <a:lstStyle>
            <a:lvl1pPr>
              <a:spcBef>
                <a:spcPts val="0"/>
              </a:spcBef>
              <a:spcAft>
                <a:spcPts val="500"/>
              </a:spcAft>
              <a:defRPr sz="14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500"/>
              </a:spcAft>
              <a:buNone/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US" dirty="0"/>
              <a:t>First Last Name</a:t>
            </a:r>
          </a:p>
          <a:p>
            <a:pPr lvl="1"/>
            <a:r>
              <a:rPr lang="en-US" dirty="0"/>
              <a:t>Occupation / Title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412D8DD7-FD0D-184E-9FEB-B3CBD0CB69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AD3B7FFB-4982-EF48-9DB8-578E56C246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1" y="6507948"/>
            <a:ext cx="5411790" cy="3500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4" name="Slide Number Placeholder 24">
            <a:extLst>
              <a:ext uri="{FF2B5EF4-FFF2-40B4-BE49-F238E27FC236}">
                <a16:creationId xmlns:a16="http://schemas.microsoft.com/office/drawing/2014/main" id="{A970C4E2-D020-9D4D-A34B-6A4E9A92B2C0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bg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bg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1754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79C1D59-BA6C-264B-9774-491332853F9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43591" y="830499"/>
            <a:ext cx="6894227" cy="5197002"/>
          </a:xfrm>
          <a:prstGeom prst="rect">
            <a:avLst/>
          </a:prstGeom>
        </p:spPr>
        <p:txBody>
          <a:bodyPr anchor="ctr"/>
          <a:lstStyle>
            <a:lvl1pPr marL="577850" indent="-577850">
              <a:lnSpc>
                <a:spcPct val="100000"/>
              </a:lnSpc>
              <a:spcBef>
                <a:spcPts val="2000"/>
              </a:spcBef>
              <a:buClr>
                <a:schemeClr val="tx2"/>
              </a:buClr>
              <a:buSzPct val="200000"/>
              <a:buFont typeface="+mj-lt"/>
              <a:buAutoNum type="arabicPeriod"/>
              <a:tabLst>
                <a:tab pos="341313" algn="l"/>
              </a:tabLst>
              <a:defRPr sz="2000" b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0888" indent="-152400">
              <a:tabLst/>
              <a:defRPr sz="1400" b="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b="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b="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b="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 dirty="0"/>
              <a:t>First talking point</a:t>
            </a:r>
          </a:p>
          <a:p>
            <a:pPr lvl="1"/>
            <a:r>
              <a:rPr lang="en-US" dirty="0"/>
              <a:t>First talking point additional informatio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A4A1DE1-B53B-814B-8C5C-77CDD113907F}"/>
              </a:ext>
            </a:extLst>
          </p:cNvPr>
          <p:cNvSpPr/>
          <p:nvPr userDrawn="1"/>
        </p:nvSpPr>
        <p:spPr>
          <a:xfrm>
            <a:off x="0" y="0"/>
            <a:ext cx="44500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FAB5E36-4394-814F-8182-536CFB3A82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3511" y="2607483"/>
            <a:ext cx="3705466" cy="1423578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 algn="l">
              <a:defRPr sz="8000" b="0" i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79446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F3158633-E577-E743-8F46-7BCB2F37C4CE}"/>
              </a:ext>
            </a:extLst>
          </p:cNvPr>
          <p:cNvSpPr/>
          <p:nvPr userDrawn="1"/>
        </p:nvSpPr>
        <p:spPr>
          <a:xfrm>
            <a:off x="1967345" y="1178558"/>
            <a:ext cx="10224655" cy="5679441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38100" dist="12700" dir="5400000" algn="ctr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5" name="Graphic 12">
            <a:extLst>
              <a:ext uri="{FF2B5EF4-FFF2-40B4-BE49-F238E27FC236}">
                <a16:creationId xmlns:a16="http://schemas.microsoft.com/office/drawing/2014/main" id="{CCF305F5-9874-7344-BB95-13091E955609}"/>
              </a:ext>
            </a:extLst>
          </p:cNvPr>
          <p:cNvSpPr/>
          <p:nvPr userDrawn="1"/>
        </p:nvSpPr>
        <p:spPr>
          <a:xfrm>
            <a:off x="2231231" y="1315304"/>
            <a:ext cx="1501524" cy="1166907"/>
          </a:xfrm>
          <a:custGeom>
            <a:avLst/>
            <a:gdLst>
              <a:gd name="connsiteX0" fmla="*/ 3398830 w 8469948"/>
              <a:gd name="connsiteY0" fmla="*/ 0 h 6582408"/>
              <a:gd name="connsiteX1" fmla="*/ 3398830 w 8469948"/>
              <a:gd name="connsiteY1" fmla="*/ 482685 h 6582408"/>
              <a:gd name="connsiteX2" fmla="*/ 1793166 w 8469948"/>
              <a:gd name="connsiteY2" fmla="*/ 1660359 h 6582408"/>
              <a:gd name="connsiteX3" fmla="*/ 1211624 w 8469948"/>
              <a:gd name="connsiteY3" fmla="*/ 3330238 h 6582408"/>
              <a:gd name="connsiteX4" fmla="*/ 1270635 w 8469948"/>
              <a:gd name="connsiteY4" fmla="*/ 3606330 h 6582408"/>
              <a:gd name="connsiteX5" fmla="*/ 1359151 w 8469948"/>
              <a:gd name="connsiteY5" fmla="*/ 3665356 h 6582408"/>
              <a:gd name="connsiteX6" fmla="*/ 1506678 w 8469948"/>
              <a:gd name="connsiteY6" fmla="*/ 3596809 h 6582408"/>
              <a:gd name="connsiteX7" fmla="*/ 2304275 w 8469948"/>
              <a:gd name="connsiteY7" fmla="*/ 3370224 h 6582408"/>
              <a:gd name="connsiteX8" fmla="*/ 3298892 w 8469948"/>
              <a:gd name="connsiteY8" fmla="*/ 3828155 h 6582408"/>
              <a:gd name="connsiteX9" fmla="*/ 3731955 w 8469948"/>
              <a:gd name="connsiteY9" fmla="*/ 4917290 h 6582408"/>
              <a:gd name="connsiteX10" fmla="*/ 3234171 w 8469948"/>
              <a:gd name="connsiteY10" fmla="*/ 6079731 h 6582408"/>
              <a:gd name="connsiteX11" fmla="*/ 2027305 w 8469948"/>
              <a:gd name="connsiteY11" fmla="*/ 6582409 h 6582408"/>
              <a:gd name="connsiteX12" fmla="*/ 598674 w 8469948"/>
              <a:gd name="connsiteY12" fmla="*/ 5902651 h 6582408"/>
              <a:gd name="connsiteX13" fmla="*/ 0 w 8469948"/>
              <a:gd name="connsiteY13" fmla="*/ 4079494 h 6582408"/>
              <a:gd name="connsiteX14" fmla="*/ 817585 w 8469948"/>
              <a:gd name="connsiteY14" fmla="*/ 1694632 h 6582408"/>
              <a:gd name="connsiteX15" fmla="*/ 3398830 w 8469948"/>
              <a:gd name="connsiteY15" fmla="*/ 0 h 6582408"/>
              <a:gd name="connsiteX16" fmla="*/ 8136823 w 8469948"/>
              <a:gd name="connsiteY16" fmla="*/ 0 h 6582408"/>
              <a:gd name="connsiteX17" fmla="*/ 8136823 w 8469948"/>
              <a:gd name="connsiteY17" fmla="*/ 482685 h 6582408"/>
              <a:gd name="connsiteX18" fmla="*/ 6531159 w 8469948"/>
              <a:gd name="connsiteY18" fmla="*/ 1660359 h 6582408"/>
              <a:gd name="connsiteX19" fmla="*/ 5949618 w 8469948"/>
              <a:gd name="connsiteY19" fmla="*/ 3330238 h 6582408"/>
              <a:gd name="connsiteX20" fmla="*/ 6008628 w 8469948"/>
              <a:gd name="connsiteY20" fmla="*/ 3606330 h 6582408"/>
              <a:gd name="connsiteX21" fmla="*/ 6097144 w 8469948"/>
              <a:gd name="connsiteY21" fmla="*/ 3665356 h 6582408"/>
              <a:gd name="connsiteX22" fmla="*/ 6244671 w 8469948"/>
              <a:gd name="connsiteY22" fmla="*/ 3596809 h 6582408"/>
              <a:gd name="connsiteX23" fmla="*/ 7042269 w 8469948"/>
              <a:gd name="connsiteY23" fmla="*/ 3370224 h 6582408"/>
              <a:gd name="connsiteX24" fmla="*/ 8036886 w 8469948"/>
              <a:gd name="connsiteY24" fmla="*/ 3828155 h 6582408"/>
              <a:gd name="connsiteX25" fmla="*/ 8469948 w 8469948"/>
              <a:gd name="connsiteY25" fmla="*/ 4917290 h 6582408"/>
              <a:gd name="connsiteX26" fmla="*/ 7972164 w 8469948"/>
              <a:gd name="connsiteY26" fmla="*/ 6079731 h 6582408"/>
              <a:gd name="connsiteX27" fmla="*/ 6765299 w 8469948"/>
              <a:gd name="connsiteY27" fmla="*/ 6582409 h 6582408"/>
              <a:gd name="connsiteX28" fmla="*/ 5336667 w 8469948"/>
              <a:gd name="connsiteY28" fmla="*/ 5902651 h 6582408"/>
              <a:gd name="connsiteX29" fmla="*/ 4736090 w 8469948"/>
              <a:gd name="connsiteY29" fmla="*/ 4079494 h 6582408"/>
              <a:gd name="connsiteX30" fmla="*/ 5553675 w 8469948"/>
              <a:gd name="connsiteY30" fmla="*/ 1694632 h 6582408"/>
              <a:gd name="connsiteX31" fmla="*/ 8136823 w 8469948"/>
              <a:gd name="connsiteY31" fmla="*/ 0 h 6582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8469948" h="6582408">
                <a:moveTo>
                  <a:pt x="3398830" y="0"/>
                </a:moveTo>
                <a:lnTo>
                  <a:pt x="3398830" y="482685"/>
                </a:lnTo>
                <a:cubicBezTo>
                  <a:pt x="2715447" y="732119"/>
                  <a:pt x="2180543" y="1125312"/>
                  <a:pt x="1793166" y="1660359"/>
                </a:cubicBezTo>
                <a:cubicBezTo>
                  <a:pt x="1405789" y="2195406"/>
                  <a:pt x="1211624" y="2752349"/>
                  <a:pt x="1211624" y="3330238"/>
                </a:cubicBezTo>
                <a:cubicBezTo>
                  <a:pt x="1211624" y="3454955"/>
                  <a:pt x="1231612" y="3547303"/>
                  <a:pt x="1270635" y="3606330"/>
                </a:cubicBezTo>
                <a:cubicBezTo>
                  <a:pt x="1296333" y="3645363"/>
                  <a:pt x="1326790" y="3665356"/>
                  <a:pt x="1359151" y="3665356"/>
                </a:cubicBezTo>
                <a:cubicBezTo>
                  <a:pt x="1391512" y="3665356"/>
                  <a:pt x="1441005" y="3642507"/>
                  <a:pt x="1506678" y="3596809"/>
                </a:cubicBezTo>
                <a:cubicBezTo>
                  <a:pt x="1717023" y="3445435"/>
                  <a:pt x="1982571" y="3370224"/>
                  <a:pt x="2304275" y="3370224"/>
                </a:cubicBezTo>
                <a:cubicBezTo>
                  <a:pt x="2678327" y="3370224"/>
                  <a:pt x="3010501" y="3522550"/>
                  <a:pt x="3298892" y="3828155"/>
                </a:cubicBezTo>
                <a:cubicBezTo>
                  <a:pt x="3588235" y="4133760"/>
                  <a:pt x="3731955" y="4496488"/>
                  <a:pt x="3731955" y="4917290"/>
                </a:cubicBezTo>
                <a:cubicBezTo>
                  <a:pt x="3731955" y="5357132"/>
                  <a:pt x="3566344" y="5744613"/>
                  <a:pt x="3234171" y="6079731"/>
                </a:cubicBezTo>
                <a:cubicBezTo>
                  <a:pt x="2902949" y="6414849"/>
                  <a:pt x="2500343" y="6582409"/>
                  <a:pt x="2027305" y="6582409"/>
                </a:cubicBezTo>
                <a:cubicBezTo>
                  <a:pt x="1475269" y="6582409"/>
                  <a:pt x="999376" y="6355823"/>
                  <a:pt x="598674" y="5902651"/>
                </a:cubicBezTo>
                <a:cubicBezTo>
                  <a:pt x="199875" y="5448528"/>
                  <a:pt x="0" y="4841126"/>
                  <a:pt x="0" y="4079494"/>
                </a:cubicBezTo>
                <a:cubicBezTo>
                  <a:pt x="0" y="3192192"/>
                  <a:pt x="272211" y="2398190"/>
                  <a:pt x="817585" y="1694632"/>
                </a:cubicBezTo>
                <a:cubicBezTo>
                  <a:pt x="1362958" y="992026"/>
                  <a:pt x="2223373" y="427466"/>
                  <a:pt x="3398830" y="0"/>
                </a:cubicBezTo>
                <a:close/>
                <a:moveTo>
                  <a:pt x="8136823" y="0"/>
                </a:moveTo>
                <a:lnTo>
                  <a:pt x="8136823" y="482685"/>
                </a:lnTo>
                <a:cubicBezTo>
                  <a:pt x="7453440" y="732119"/>
                  <a:pt x="6918537" y="1125312"/>
                  <a:pt x="6531159" y="1660359"/>
                </a:cubicBezTo>
                <a:cubicBezTo>
                  <a:pt x="6143782" y="2195406"/>
                  <a:pt x="5949618" y="2752349"/>
                  <a:pt x="5949618" y="3330238"/>
                </a:cubicBezTo>
                <a:cubicBezTo>
                  <a:pt x="5949618" y="3454955"/>
                  <a:pt x="5969605" y="3547303"/>
                  <a:pt x="6008628" y="3606330"/>
                </a:cubicBezTo>
                <a:cubicBezTo>
                  <a:pt x="6034327" y="3645363"/>
                  <a:pt x="6064784" y="3665356"/>
                  <a:pt x="6097144" y="3665356"/>
                </a:cubicBezTo>
                <a:cubicBezTo>
                  <a:pt x="6129505" y="3665356"/>
                  <a:pt x="6178998" y="3642507"/>
                  <a:pt x="6244671" y="3596809"/>
                </a:cubicBezTo>
                <a:cubicBezTo>
                  <a:pt x="6455017" y="3445435"/>
                  <a:pt x="6720565" y="3370224"/>
                  <a:pt x="7042269" y="3370224"/>
                </a:cubicBezTo>
                <a:cubicBezTo>
                  <a:pt x="7416321" y="3370224"/>
                  <a:pt x="7748494" y="3522550"/>
                  <a:pt x="8036886" y="3828155"/>
                </a:cubicBezTo>
                <a:cubicBezTo>
                  <a:pt x="8326229" y="4133760"/>
                  <a:pt x="8469948" y="4496488"/>
                  <a:pt x="8469948" y="4917290"/>
                </a:cubicBezTo>
                <a:cubicBezTo>
                  <a:pt x="8469948" y="5357132"/>
                  <a:pt x="8304338" y="5744613"/>
                  <a:pt x="7972164" y="6079731"/>
                </a:cubicBezTo>
                <a:cubicBezTo>
                  <a:pt x="7640942" y="6414849"/>
                  <a:pt x="7238337" y="6582409"/>
                  <a:pt x="6765299" y="6582409"/>
                </a:cubicBezTo>
                <a:cubicBezTo>
                  <a:pt x="6213263" y="6582409"/>
                  <a:pt x="5737369" y="6355823"/>
                  <a:pt x="5336667" y="5902651"/>
                </a:cubicBezTo>
                <a:cubicBezTo>
                  <a:pt x="4935965" y="5449480"/>
                  <a:pt x="4736090" y="4842078"/>
                  <a:pt x="4736090" y="4079494"/>
                </a:cubicBezTo>
                <a:cubicBezTo>
                  <a:pt x="4736090" y="3193144"/>
                  <a:pt x="5008301" y="2398190"/>
                  <a:pt x="5553675" y="1694632"/>
                </a:cubicBezTo>
                <a:cubicBezTo>
                  <a:pt x="6100952" y="992026"/>
                  <a:pt x="6961367" y="427466"/>
                  <a:pt x="8136823" y="0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 w="951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7678AEEC-E1A5-1E43-B803-D3F37C7268DF}"/>
              </a:ext>
            </a:extLst>
          </p:cNvPr>
          <p:cNvSpPr/>
          <p:nvPr userDrawn="1"/>
        </p:nvSpPr>
        <p:spPr>
          <a:xfrm>
            <a:off x="331309" y="2519728"/>
            <a:ext cx="3093162" cy="3093162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0" dist="2540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>
              <a:lnSpc>
                <a:spcPct val="130000"/>
              </a:lnSpc>
            </a:pPr>
            <a:endParaRPr lang="en-US" sz="1000" dirty="0">
              <a:solidFill>
                <a:srgbClr val="FFFFFF">
                  <a:alpha val="70000"/>
                </a:srgbClr>
              </a:solidFill>
            </a:endParaRP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83FFFAE5-24E6-AC42-A7A1-4879A8BA076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92433" y="2680852"/>
            <a:ext cx="2770912" cy="2770912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en-US" dirty="0"/>
              <a:t>Insert logo her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9FF5FEB0-9DAA-A443-BEE3-147EE27826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AACE28B-1EB8-5D4D-90E2-C0D0BD9BC1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85595" y="2691554"/>
            <a:ext cx="8230485" cy="2749507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buFontTx/>
              <a:buNone/>
              <a:defRPr sz="2400" b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lnSpc>
                <a:spcPct val="100000"/>
              </a:lnSpc>
              <a:buFontTx/>
              <a:buNone/>
              <a:defRPr sz="2400" b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0" indent="0">
              <a:lnSpc>
                <a:spcPct val="100000"/>
              </a:lnSpc>
              <a:buFontTx/>
              <a:buNone/>
              <a:defRPr sz="2400" b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0" indent="0">
              <a:lnSpc>
                <a:spcPct val="100000"/>
              </a:lnSpc>
              <a:buFontTx/>
              <a:buNone/>
              <a:defRPr sz="2400" b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0" indent="0">
              <a:lnSpc>
                <a:spcPct val="100000"/>
              </a:lnSpc>
              <a:buFontTx/>
              <a:buNone/>
              <a:defRPr sz="2400" b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Footer Placeholder 1">
            <a:extLst>
              <a:ext uri="{FF2B5EF4-FFF2-40B4-BE49-F238E27FC236}">
                <a16:creationId xmlns:a16="http://schemas.microsoft.com/office/drawing/2014/main" id="{939B3BDB-3925-EE48-9999-6CC325FA10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44323" y="6507948"/>
            <a:ext cx="5411790" cy="3500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26" name="Graphic 12">
            <a:extLst>
              <a:ext uri="{FF2B5EF4-FFF2-40B4-BE49-F238E27FC236}">
                <a16:creationId xmlns:a16="http://schemas.microsoft.com/office/drawing/2014/main" id="{1F13E60A-0C08-164E-854B-BC22E29A33EE}"/>
              </a:ext>
            </a:extLst>
          </p:cNvPr>
          <p:cNvSpPr/>
          <p:nvPr userDrawn="1"/>
        </p:nvSpPr>
        <p:spPr>
          <a:xfrm rot="10800000">
            <a:off x="10533520" y="5316226"/>
            <a:ext cx="1501524" cy="1166907"/>
          </a:xfrm>
          <a:custGeom>
            <a:avLst/>
            <a:gdLst>
              <a:gd name="connsiteX0" fmla="*/ 3398830 w 8469948"/>
              <a:gd name="connsiteY0" fmla="*/ 0 h 6582408"/>
              <a:gd name="connsiteX1" fmla="*/ 3398830 w 8469948"/>
              <a:gd name="connsiteY1" fmla="*/ 482685 h 6582408"/>
              <a:gd name="connsiteX2" fmla="*/ 1793166 w 8469948"/>
              <a:gd name="connsiteY2" fmla="*/ 1660359 h 6582408"/>
              <a:gd name="connsiteX3" fmla="*/ 1211624 w 8469948"/>
              <a:gd name="connsiteY3" fmla="*/ 3330238 h 6582408"/>
              <a:gd name="connsiteX4" fmla="*/ 1270635 w 8469948"/>
              <a:gd name="connsiteY4" fmla="*/ 3606330 h 6582408"/>
              <a:gd name="connsiteX5" fmla="*/ 1359151 w 8469948"/>
              <a:gd name="connsiteY5" fmla="*/ 3665356 h 6582408"/>
              <a:gd name="connsiteX6" fmla="*/ 1506678 w 8469948"/>
              <a:gd name="connsiteY6" fmla="*/ 3596809 h 6582408"/>
              <a:gd name="connsiteX7" fmla="*/ 2304275 w 8469948"/>
              <a:gd name="connsiteY7" fmla="*/ 3370224 h 6582408"/>
              <a:gd name="connsiteX8" fmla="*/ 3298892 w 8469948"/>
              <a:gd name="connsiteY8" fmla="*/ 3828155 h 6582408"/>
              <a:gd name="connsiteX9" fmla="*/ 3731955 w 8469948"/>
              <a:gd name="connsiteY9" fmla="*/ 4917290 h 6582408"/>
              <a:gd name="connsiteX10" fmla="*/ 3234171 w 8469948"/>
              <a:gd name="connsiteY10" fmla="*/ 6079731 h 6582408"/>
              <a:gd name="connsiteX11" fmla="*/ 2027305 w 8469948"/>
              <a:gd name="connsiteY11" fmla="*/ 6582409 h 6582408"/>
              <a:gd name="connsiteX12" fmla="*/ 598674 w 8469948"/>
              <a:gd name="connsiteY12" fmla="*/ 5902651 h 6582408"/>
              <a:gd name="connsiteX13" fmla="*/ 0 w 8469948"/>
              <a:gd name="connsiteY13" fmla="*/ 4079494 h 6582408"/>
              <a:gd name="connsiteX14" fmla="*/ 817585 w 8469948"/>
              <a:gd name="connsiteY14" fmla="*/ 1694632 h 6582408"/>
              <a:gd name="connsiteX15" fmla="*/ 3398830 w 8469948"/>
              <a:gd name="connsiteY15" fmla="*/ 0 h 6582408"/>
              <a:gd name="connsiteX16" fmla="*/ 8136823 w 8469948"/>
              <a:gd name="connsiteY16" fmla="*/ 0 h 6582408"/>
              <a:gd name="connsiteX17" fmla="*/ 8136823 w 8469948"/>
              <a:gd name="connsiteY17" fmla="*/ 482685 h 6582408"/>
              <a:gd name="connsiteX18" fmla="*/ 6531159 w 8469948"/>
              <a:gd name="connsiteY18" fmla="*/ 1660359 h 6582408"/>
              <a:gd name="connsiteX19" fmla="*/ 5949618 w 8469948"/>
              <a:gd name="connsiteY19" fmla="*/ 3330238 h 6582408"/>
              <a:gd name="connsiteX20" fmla="*/ 6008628 w 8469948"/>
              <a:gd name="connsiteY20" fmla="*/ 3606330 h 6582408"/>
              <a:gd name="connsiteX21" fmla="*/ 6097144 w 8469948"/>
              <a:gd name="connsiteY21" fmla="*/ 3665356 h 6582408"/>
              <a:gd name="connsiteX22" fmla="*/ 6244671 w 8469948"/>
              <a:gd name="connsiteY22" fmla="*/ 3596809 h 6582408"/>
              <a:gd name="connsiteX23" fmla="*/ 7042269 w 8469948"/>
              <a:gd name="connsiteY23" fmla="*/ 3370224 h 6582408"/>
              <a:gd name="connsiteX24" fmla="*/ 8036886 w 8469948"/>
              <a:gd name="connsiteY24" fmla="*/ 3828155 h 6582408"/>
              <a:gd name="connsiteX25" fmla="*/ 8469948 w 8469948"/>
              <a:gd name="connsiteY25" fmla="*/ 4917290 h 6582408"/>
              <a:gd name="connsiteX26" fmla="*/ 7972164 w 8469948"/>
              <a:gd name="connsiteY26" fmla="*/ 6079731 h 6582408"/>
              <a:gd name="connsiteX27" fmla="*/ 6765299 w 8469948"/>
              <a:gd name="connsiteY27" fmla="*/ 6582409 h 6582408"/>
              <a:gd name="connsiteX28" fmla="*/ 5336667 w 8469948"/>
              <a:gd name="connsiteY28" fmla="*/ 5902651 h 6582408"/>
              <a:gd name="connsiteX29" fmla="*/ 4736090 w 8469948"/>
              <a:gd name="connsiteY29" fmla="*/ 4079494 h 6582408"/>
              <a:gd name="connsiteX30" fmla="*/ 5553675 w 8469948"/>
              <a:gd name="connsiteY30" fmla="*/ 1694632 h 6582408"/>
              <a:gd name="connsiteX31" fmla="*/ 8136823 w 8469948"/>
              <a:gd name="connsiteY31" fmla="*/ 0 h 65824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8469948" h="6582408">
                <a:moveTo>
                  <a:pt x="3398830" y="0"/>
                </a:moveTo>
                <a:lnTo>
                  <a:pt x="3398830" y="482685"/>
                </a:lnTo>
                <a:cubicBezTo>
                  <a:pt x="2715447" y="732119"/>
                  <a:pt x="2180543" y="1125312"/>
                  <a:pt x="1793166" y="1660359"/>
                </a:cubicBezTo>
                <a:cubicBezTo>
                  <a:pt x="1405789" y="2195406"/>
                  <a:pt x="1211624" y="2752349"/>
                  <a:pt x="1211624" y="3330238"/>
                </a:cubicBezTo>
                <a:cubicBezTo>
                  <a:pt x="1211624" y="3454955"/>
                  <a:pt x="1231612" y="3547303"/>
                  <a:pt x="1270635" y="3606330"/>
                </a:cubicBezTo>
                <a:cubicBezTo>
                  <a:pt x="1296333" y="3645363"/>
                  <a:pt x="1326790" y="3665356"/>
                  <a:pt x="1359151" y="3665356"/>
                </a:cubicBezTo>
                <a:cubicBezTo>
                  <a:pt x="1391512" y="3665356"/>
                  <a:pt x="1441005" y="3642507"/>
                  <a:pt x="1506678" y="3596809"/>
                </a:cubicBezTo>
                <a:cubicBezTo>
                  <a:pt x="1717023" y="3445435"/>
                  <a:pt x="1982571" y="3370224"/>
                  <a:pt x="2304275" y="3370224"/>
                </a:cubicBezTo>
                <a:cubicBezTo>
                  <a:pt x="2678327" y="3370224"/>
                  <a:pt x="3010501" y="3522550"/>
                  <a:pt x="3298892" y="3828155"/>
                </a:cubicBezTo>
                <a:cubicBezTo>
                  <a:pt x="3588235" y="4133760"/>
                  <a:pt x="3731955" y="4496488"/>
                  <a:pt x="3731955" y="4917290"/>
                </a:cubicBezTo>
                <a:cubicBezTo>
                  <a:pt x="3731955" y="5357132"/>
                  <a:pt x="3566344" y="5744613"/>
                  <a:pt x="3234171" y="6079731"/>
                </a:cubicBezTo>
                <a:cubicBezTo>
                  <a:pt x="2902949" y="6414849"/>
                  <a:pt x="2500343" y="6582409"/>
                  <a:pt x="2027305" y="6582409"/>
                </a:cubicBezTo>
                <a:cubicBezTo>
                  <a:pt x="1475269" y="6582409"/>
                  <a:pt x="999376" y="6355823"/>
                  <a:pt x="598674" y="5902651"/>
                </a:cubicBezTo>
                <a:cubicBezTo>
                  <a:pt x="199875" y="5448528"/>
                  <a:pt x="0" y="4841126"/>
                  <a:pt x="0" y="4079494"/>
                </a:cubicBezTo>
                <a:cubicBezTo>
                  <a:pt x="0" y="3192192"/>
                  <a:pt x="272211" y="2398190"/>
                  <a:pt x="817585" y="1694632"/>
                </a:cubicBezTo>
                <a:cubicBezTo>
                  <a:pt x="1362958" y="992026"/>
                  <a:pt x="2223373" y="427466"/>
                  <a:pt x="3398830" y="0"/>
                </a:cubicBezTo>
                <a:close/>
                <a:moveTo>
                  <a:pt x="8136823" y="0"/>
                </a:moveTo>
                <a:lnTo>
                  <a:pt x="8136823" y="482685"/>
                </a:lnTo>
                <a:cubicBezTo>
                  <a:pt x="7453440" y="732119"/>
                  <a:pt x="6918537" y="1125312"/>
                  <a:pt x="6531159" y="1660359"/>
                </a:cubicBezTo>
                <a:cubicBezTo>
                  <a:pt x="6143782" y="2195406"/>
                  <a:pt x="5949618" y="2752349"/>
                  <a:pt x="5949618" y="3330238"/>
                </a:cubicBezTo>
                <a:cubicBezTo>
                  <a:pt x="5949618" y="3454955"/>
                  <a:pt x="5969605" y="3547303"/>
                  <a:pt x="6008628" y="3606330"/>
                </a:cubicBezTo>
                <a:cubicBezTo>
                  <a:pt x="6034327" y="3645363"/>
                  <a:pt x="6064784" y="3665356"/>
                  <a:pt x="6097144" y="3665356"/>
                </a:cubicBezTo>
                <a:cubicBezTo>
                  <a:pt x="6129505" y="3665356"/>
                  <a:pt x="6178998" y="3642507"/>
                  <a:pt x="6244671" y="3596809"/>
                </a:cubicBezTo>
                <a:cubicBezTo>
                  <a:pt x="6455017" y="3445435"/>
                  <a:pt x="6720565" y="3370224"/>
                  <a:pt x="7042269" y="3370224"/>
                </a:cubicBezTo>
                <a:cubicBezTo>
                  <a:pt x="7416321" y="3370224"/>
                  <a:pt x="7748494" y="3522550"/>
                  <a:pt x="8036886" y="3828155"/>
                </a:cubicBezTo>
                <a:cubicBezTo>
                  <a:pt x="8326229" y="4133760"/>
                  <a:pt x="8469948" y="4496488"/>
                  <a:pt x="8469948" y="4917290"/>
                </a:cubicBezTo>
                <a:cubicBezTo>
                  <a:pt x="8469948" y="5357132"/>
                  <a:pt x="8304338" y="5744613"/>
                  <a:pt x="7972164" y="6079731"/>
                </a:cubicBezTo>
                <a:cubicBezTo>
                  <a:pt x="7640942" y="6414849"/>
                  <a:pt x="7238337" y="6582409"/>
                  <a:pt x="6765299" y="6582409"/>
                </a:cubicBezTo>
                <a:cubicBezTo>
                  <a:pt x="6213263" y="6582409"/>
                  <a:pt x="5737369" y="6355823"/>
                  <a:pt x="5336667" y="5902651"/>
                </a:cubicBezTo>
                <a:cubicBezTo>
                  <a:pt x="4935965" y="5449480"/>
                  <a:pt x="4736090" y="4842078"/>
                  <a:pt x="4736090" y="4079494"/>
                </a:cubicBezTo>
                <a:cubicBezTo>
                  <a:pt x="4736090" y="3193144"/>
                  <a:pt x="5008301" y="2398190"/>
                  <a:pt x="5553675" y="1694632"/>
                </a:cubicBezTo>
                <a:cubicBezTo>
                  <a:pt x="6100952" y="992026"/>
                  <a:pt x="6961367" y="427466"/>
                  <a:pt x="8136823" y="0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 w="951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Title Placeholder 3">
            <a:extLst>
              <a:ext uri="{FF2B5EF4-FFF2-40B4-BE49-F238E27FC236}">
                <a16:creationId xmlns:a16="http://schemas.microsoft.com/office/drawing/2014/main" id="{ED4D0CEE-7330-064C-A980-5E7538F13D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11480800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79BA1500-D355-CF47-B607-94C52BF829E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5281" y="599920"/>
            <a:ext cx="11480800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6114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Layou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625DFD6-2D24-374C-8F2C-E51A567545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410CE21-689B-FD43-A96E-214CA5820E64}"/>
              </a:ext>
            </a:extLst>
          </p:cNvPr>
          <p:cNvSpPr/>
          <p:nvPr userDrawn="1"/>
        </p:nvSpPr>
        <p:spPr>
          <a:xfrm>
            <a:off x="0" y="0"/>
            <a:ext cx="12192000" cy="11785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D293B65-EA23-8A45-81B3-87BCE9DF043B}"/>
              </a:ext>
            </a:extLst>
          </p:cNvPr>
          <p:cNvSpPr/>
          <p:nvPr userDrawn="1"/>
        </p:nvSpPr>
        <p:spPr>
          <a:xfrm>
            <a:off x="10160000" y="0"/>
            <a:ext cx="203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635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F0B98EB9-29DC-5E4C-AADF-BEC2E1CAC296}"/>
              </a:ext>
            </a:extLst>
          </p:cNvPr>
          <p:cNvCxnSpPr>
            <a:cxnSpLocks/>
          </p:cNvCxnSpPr>
          <p:nvPr userDrawn="1"/>
        </p:nvCxnSpPr>
        <p:spPr>
          <a:xfrm>
            <a:off x="11600298" y="0"/>
            <a:ext cx="0" cy="6507948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C5A9070C-6562-1144-A240-8935FFF571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82579" y="1662931"/>
            <a:ext cx="1287456" cy="35321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r">
              <a:lnSpc>
                <a:spcPct val="200000"/>
              </a:lnSpc>
              <a:buClr>
                <a:schemeClr val="accent4"/>
              </a:buClr>
              <a:buFont typeface="Wingdings" pitchFamily="2" charset="2"/>
              <a:buNone/>
              <a:tabLst/>
              <a:defRPr sz="1400" b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179388" indent="0" algn="r">
              <a:lnSpc>
                <a:spcPct val="200000"/>
              </a:lnSpc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None/>
              <a:tabLst/>
              <a:defRPr sz="1400" b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79388" indent="0" algn="r">
              <a:lnSpc>
                <a:spcPct val="200000"/>
              </a:lnSpc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None/>
              <a:tabLst/>
              <a:defRPr sz="1400" b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79388" indent="0" algn="r">
              <a:lnSpc>
                <a:spcPct val="200000"/>
              </a:lnSpc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None/>
              <a:tabLst/>
              <a:defRPr sz="1400" b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179388" indent="0" algn="r">
              <a:lnSpc>
                <a:spcPct val="200000"/>
              </a:lnSpc>
              <a:buClr>
                <a:schemeClr val="tx1">
                  <a:lumMod val="50000"/>
                  <a:lumOff val="50000"/>
                </a:schemeClr>
              </a:buClr>
              <a:buFont typeface="Wingdings" pitchFamily="2" charset="2"/>
              <a:buNone/>
              <a:tabLst/>
              <a:defRPr sz="1400" b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8709A9EA-3B0C-B94A-B065-1BCCE7037DE4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335281" y="6507948"/>
            <a:ext cx="5411790" cy="3500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88887A5E-8E12-1B40-B5E7-FF34D97550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1C227F77-72DF-D746-875F-51F80827A56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64177" y="1309015"/>
            <a:ext cx="7044267" cy="5183860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6" name="Picture Placeholder 8">
            <a:extLst>
              <a:ext uri="{FF2B5EF4-FFF2-40B4-BE49-F238E27FC236}">
                <a16:creationId xmlns:a16="http://schemas.microsoft.com/office/drawing/2014/main" id="{3E556511-4C5F-6B48-93FE-9E5082D3EBD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35279" y="1309015"/>
            <a:ext cx="2125701" cy="207768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41300" dist="101600" dir="5400000" algn="t" rotWithShape="0">
              <a:prstClr val="black">
                <a:alpha val="21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Title Placeholder 3">
            <a:extLst>
              <a:ext uri="{FF2B5EF4-FFF2-40B4-BE49-F238E27FC236}">
                <a16:creationId xmlns:a16="http://schemas.microsoft.com/office/drawing/2014/main" id="{71706CF7-7C2D-9A4B-AE43-E0DE4E6B27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9587195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39CB0D8F-C820-D142-9CE3-CCAEFBBEA3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5281" y="599920"/>
            <a:ext cx="9587195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24">
            <a:extLst>
              <a:ext uri="{FF2B5EF4-FFF2-40B4-BE49-F238E27FC236}">
                <a16:creationId xmlns:a16="http://schemas.microsoft.com/office/drawing/2014/main" id="{24B73137-417E-584A-81B2-349DA491A713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tx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tx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592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Layou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2F79B4AC-C912-C146-B245-F14340D9BF5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4E48AE9-D2D0-CC4E-B02F-7513BBCBC796}"/>
              </a:ext>
            </a:extLst>
          </p:cNvPr>
          <p:cNvSpPr/>
          <p:nvPr userDrawn="1"/>
        </p:nvSpPr>
        <p:spPr>
          <a:xfrm>
            <a:off x="0" y="0"/>
            <a:ext cx="12192000" cy="11785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8709A9EA-3B0C-B94A-B065-1BCCE7037D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1" y="6507948"/>
            <a:ext cx="5411790" cy="3500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6A044A2-C2B7-5943-A294-219F81BA49E1}"/>
              </a:ext>
            </a:extLst>
          </p:cNvPr>
          <p:cNvCxnSpPr>
            <a:cxnSpLocks/>
          </p:cNvCxnSpPr>
          <p:nvPr userDrawn="1"/>
        </p:nvCxnSpPr>
        <p:spPr>
          <a:xfrm>
            <a:off x="0" y="3798251"/>
            <a:ext cx="12288985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BC10492A-5952-BC4B-B039-B86C33CC24C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1209" y="1866150"/>
            <a:ext cx="2854045" cy="149160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1000"/>
              </a:spcBef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5E85AFF9-7CD9-5540-BBFB-3D33138918F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984950" y="1866150"/>
            <a:ext cx="2854045" cy="149160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1000"/>
              </a:spcBef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5087C05D-31C1-0540-9563-393FB70B051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28691" y="1866150"/>
            <a:ext cx="2854045" cy="149160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1000"/>
              </a:spcBef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84E010F-3241-144C-AD76-2B8C0889BCC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1684317" y="4217465"/>
            <a:ext cx="2854045" cy="14916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1000"/>
              </a:spcBef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A5E8ED2E-6C64-2E45-BF74-D8F5C9E537D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328058" y="4217465"/>
            <a:ext cx="2854045" cy="14916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1000"/>
              </a:spcBef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8B152784-F9E9-0241-9096-4EBE39A2AFEA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971799" y="4217465"/>
            <a:ext cx="2854045" cy="14916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1000"/>
              </a:spcBef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Placeholder 3">
            <a:extLst>
              <a:ext uri="{FF2B5EF4-FFF2-40B4-BE49-F238E27FC236}">
                <a16:creationId xmlns:a16="http://schemas.microsoft.com/office/drawing/2014/main" id="{F783F9A3-BFA9-2F4D-84C6-7728A57089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11480800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024F4E5E-E888-1745-A91F-3C6474E6000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5281" y="599920"/>
            <a:ext cx="11480800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Slide Number Placeholder 24">
            <a:extLst>
              <a:ext uri="{FF2B5EF4-FFF2-40B4-BE49-F238E27FC236}">
                <a16:creationId xmlns:a16="http://schemas.microsoft.com/office/drawing/2014/main" id="{05E93190-30C4-8A49-991F-F444FF1B0BFD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tx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tx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79078C7F-D84A-2845-A4E5-FAD2520003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7444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Layou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EDCA8E3-BD58-0541-B288-AF66135DFD8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1CA343D-3BEF-B64B-8E86-38B8362C6AD9}"/>
              </a:ext>
            </a:extLst>
          </p:cNvPr>
          <p:cNvSpPr/>
          <p:nvPr userDrawn="1"/>
        </p:nvSpPr>
        <p:spPr>
          <a:xfrm>
            <a:off x="0" y="0"/>
            <a:ext cx="12192000" cy="11785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F0A77CE1-5042-2C49-B450-3ADFD1A2F5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1" y="6507948"/>
            <a:ext cx="5411790" cy="3500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E11C9B42-BDED-5340-99C5-0B191FB3445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280" y="2156781"/>
            <a:ext cx="2615982" cy="124984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1000"/>
              </a:spcBef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05116009-5D4E-354E-8AD3-D870E0E4635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1063" y="2156781"/>
            <a:ext cx="2615982" cy="124984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1000"/>
              </a:spcBef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2CDAB76-AF46-544A-AA20-7E7DB4562C7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5280" y="4606298"/>
            <a:ext cx="2615982" cy="124984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1000"/>
              </a:spcBef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5E8403F2-9A44-C747-B9A4-CE4CBA12AA7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11063" y="4606298"/>
            <a:ext cx="2615982" cy="124984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1000"/>
              </a:spcBef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1087EABC-29AB-CE43-805C-365141BF93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9425" y="2156781"/>
            <a:ext cx="2615982" cy="124984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1000"/>
              </a:spcBef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AE582A13-A33B-2348-A0DB-56D31C7714C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309425" y="4606298"/>
            <a:ext cx="2615982" cy="124984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1000"/>
              </a:spcBef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CBE790B4-41B9-3B45-8094-A41FCCE654D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93796" y="2156781"/>
            <a:ext cx="2615982" cy="124984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1000"/>
              </a:spcBef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178BC1C0-8486-B64C-AC0D-660F8ADB89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293796" y="4606298"/>
            <a:ext cx="2615982" cy="124984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1000"/>
              </a:spcBef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itle Placeholder 3">
            <a:extLst>
              <a:ext uri="{FF2B5EF4-FFF2-40B4-BE49-F238E27FC236}">
                <a16:creationId xmlns:a16="http://schemas.microsoft.com/office/drawing/2014/main" id="{8ECBD79F-A55C-974B-8C5D-62D037B429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11480800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14E7C8EA-5261-1D43-BB21-7237347FDC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5281" y="599920"/>
            <a:ext cx="11480800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24">
            <a:extLst>
              <a:ext uri="{FF2B5EF4-FFF2-40B4-BE49-F238E27FC236}">
                <a16:creationId xmlns:a16="http://schemas.microsoft.com/office/drawing/2014/main" id="{0A798A0C-19EF-1645-98BE-331761B0E43B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tx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tx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86D80CCA-A900-CB4C-999B-66E4C88136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563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Layou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D2B015F5-8173-AA4B-ADD9-42BBD0BAB9C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47A5DCA-2571-7C4E-9B15-5235AE45F5FB}"/>
              </a:ext>
            </a:extLst>
          </p:cNvPr>
          <p:cNvSpPr/>
          <p:nvPr userDrawn="1"/>
        </p:nvSpPr>
        <p:spPr>
          <a:xfrm>
            <a:off x="0" y="0"/>
            <a:ext cx="12192000" cy="11785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81145244-72CC-B041-83AD-39DD569136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280" y="2156776"/>
            <a:ext cx="3343670" cy="124984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1000"/>
              </a:spcBef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953C58EA-409E-C647-80EF-BF4589D0B5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15968" y="2156776"/>
            <a:ext cx="3343670" cy="124984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1000"/>
              </a:spcBef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7C51494-576B-9948-9814-6E10258D23D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5280" y="4606288"/>
            <a:ext cx="3343670" cy="124984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1000"/>
              </a:spcBef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07066E6-E1A5-A942-AE3D-A263F22EECB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5968" y="4606288"/>
            <a:ext cx="3343670" cy="124984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1000"/>
              </a:spcBef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Picture Placeholder 8">
            <a:extLst>
              <a:ext uri="{FF2B5EF4-FFF2-40B4-BE49-F238E27FC236}">
                <a16:creationId xmlns:a16="http://schemas.microsoft.com/office/drawing/2014/main" id="{723CBB99-EABD-D84E-A832-CFBBD89F8FA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24822" y="1178557"/>
            <a:ext cx="4067178" cy="567944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F0A77CE1-5042-2C49-B450-3ADFD1A2F5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1" y="6507948"/>
            <a:ext cx="5411790" cy="3500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24" name="Title Placeholder 3">
            <a:extLst>
              <a:ext uri="{FF2B5EF4-FFF2-40B4-BE49-F238E27FC236}">
                <a16:creationId xmlns:a16="http://schemas.microsoft.com/office/drawing/2014/main" id="{13416EA7-DAFE-644D-A3E0-A40142CB50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11480800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4AE17500-4B46-644B-84B2-2B9EF704FE5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5281" y="599920"/>
            <a:ext cx="11480800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Slide Number Placeholder 24">
            <a:extLst>
              <a:ext uri="{FF2B5EF4-FFF2-40B4-BE49-F238E27FC236}">
                <a16:creationId xmlns:a16="http://schemas.microsoft.com/office/drawing/2014/main" id="{F919299A-6B26-7A49-A24A-F23CEE26CFD4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tx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tx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2434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Layout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4F1531F-0BBE-E641-A069-A2ADA18031D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AE2148C-A104-D14B-9AEA-A90288EDB283}"/>
              </a:ext>
            </a:extLst>
          </p:cNvPr>
          <p:cNvSpPr/>
          <p:nvPr userDrawn="1"/>
        </p:nvSpPr>
        <p:spPr>
          <a:xfrm>
            <a:off x="0" y="0"/>
            <a:ext cx="12192000" cy="11785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9D08F776-FE4D-CD45-822C-CD4DD090AD6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3792617"/>
            <a:ext cx="5899986" cy="3065383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D1DBFA6-13BB-054D-9426-C6C048E9C41B}"/>
              </a:ext>
            </a:extLst>
          </p:cNvPr>
          <p:cNvSpPr/>
          <p:nvPr userDrawn="1"/>
        </p:nvSpPr>
        <p:spPr>
          <a:xfrm>
            <a:off x="5899986" y="3788230"/>
            <a:ext cx="6292014" cy="306977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FA80464F-4328-AA45-B387-DDCC4562E9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0" y="4224055"/>
            <a:ext cx="5720081" cy="2198120"/>
          </a:xfrm>
          <a:prstGeom prst="rect">
            <a:avLst/>
          </a:prstGeom>
        </p:spPr>
        <p:txBody>
          <a:bodyPr anchor="ctr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38621414-31B7-A740-B3E0-18C55A488D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13F14920-7F4F-FB47-91A8-775400C9529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35280" y="2156781"/>
            <a:ext cx="2615982" cy="124984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1000"/>
              </a:spcBef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829D56C1-0105-C04E-BB3A-E56D2A5FFEF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11063" y="2156781"/>
            <a:ext cx="2615982" cy="124984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1000"/>
              </a:spcBef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7976C7EB-D9F7-0142-904D-02330A59B20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9425" y="2156781"/>
            <a:ext cx="2615982" cy="124984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1000"/>
              </a:spcBef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6">
            <a:extLst>
              <a:ext uri="{FF2B5EF4-FFF2-40B4-BE49-F238E27FC236}">
                <a16:creationId xmlns:a16="http://schemas.microsoft.com/office/drawing/2014/main" id="{74819EBE-F3DF-1048-B19F-1FCC021AD83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93796" y="2156781"/>
            <a:ext cx="2615982" cy="124984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1000"/>
              </a:spcBef>
              <a:defRPr sz="18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1000"/>
              </a:spcBef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1000"/>
              </a:spcBef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Footer Placeholder 1">
            <a:extLst>
              <a:ext uri="{FF2B5EF4-FFF2-40B4-BE49-F238E27FC236}">
                <a16:creationId xmlns:a16="http://schemas.microsoft.com/office/drawing/2014/main" id="{582AB623-A979-BB45-8D8E-45EB469344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1" y="6507948"/>
            <a:ext cx="5411790" cy="3500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29" name="Slide Number Placeholder 24">
            <a:extLst>
              <a:ext uri="{FF2B5EF4-FFF2-40B4-BE49-F238E27FC236}">
                <a16:creationId xmlns:a16="http://schemas.microsoft.com/office/drawing/2014/main" id="{777EA7DE-E56F-B54E-ACD2-690F708F32B8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bg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bg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  <p:sp>
        <p:nvSpPr>
          <p:cNvPr id="30" name="Title Placeholder 3">
            <a:extLst>
              <a:ext uri="{FF2B5EF4-FFF2-40B4-BE49-F238E27FC236}">
                <a16:creationId xmlns:a16="http://schemas.microsoft.com/office/drawing/2014/main" id="{784D08B3-64E3-3747-9566-55A8944A9A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11480800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BF554AE1-A367-4F4B-9629-AD8480145262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5281" y="599920"/>
            <a:ext cx="11480800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9648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140F2BD-3322-794C-A6D0-0F2BD56C5FE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CDEA5D8-F758-1D49-92EF-12A1429DB661}"/>
              </a:ext>
            </a:extLst>
          </p:cNvPr>
          <p:cNvSpPr/>
          <p:nvPr userDrawn="1"/>
        </p:nvSpPr>
        <p:spPr>
          <a:xfrm>
            <a:off x="0" y="0"/>
            <a:ext cx="12192000" cy="11785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9" name="Content Placeholder 10">
            <a:extLst>
              <a:ext uri="{FF2B5EF4-FFF2-40B4-BE49-F238E27FC236}">
                <a16:creationId xmlns:a16="http://schemas.microsoft.com/office/drawing/2014/main" id="{447E16F0-D84C-1C4E-8C93-5BBC0435EF5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35279" y="1591628"/>
            <a:ext cx="3369821" cy="4630827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2E667D6F-DBEC-2048-9AB1-95D5D6B2E9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1" y="6507948"/>
            <a:ext cx="5411790" cy="3500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1" name="Media Placeholder 2">
            <a:extLst>
              <a:ext uri="{FF2B5EF4-FFF2-40B4-BE49-F238E27FC236}">
                <a16:creationId xmlns:a16="http://schemas.microsoft.com/office/drawing/2014/main" id="{F9F0512D-CDD1-864F-B97B-7B79DF2A31EF}"/>
              </a:ext>
            </a:extLst>
          </p:cNvPr>
          <p:cNvSpPr>
            <a:spLocks noGrp="1"/>
          </p:cNvSpPr>
          <p:nvPr>
            <p:ph type="media" sz="quarter" idx="14"/>
          </p:nvPr>
        </p:nvSpPr>
        <p:spPr>
          <a:xfrm>
            <a:off x="3906982" y="1697421"/>
            <a:ext cx="7909098" cy="444886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media</a:t>
            </a:r>
          </a:p>
        </p:txBody>
      </p:sp>
      <p:sp>
        <p:nvSpPr>
          <p:cNvPr id="14" name="Title Placeholder 3">
            <a:extLst>
              <a:ext uri="{FF2B5EF4-FFF2-40B4-BE49-F238E27FC236}">
                <a16:creationId xmlns:a16="http://schemas.microsoft.com/office/drawing/2014/main" id="{EF3547FF-B8D8-AC47-837E-78F20ABA3F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11480800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3081FE3-B832-D247-B5DF-185A37C2C12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5281" y="599920"/>
            <a:ext cx="11480800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24">
            <a:extLst>
              <a:ext uri="{FF2B5EF4-FFF2-40B4-BE49-F238E27FC236}">
                <a16:creationId xmlns:a16="http://schemas.microsoft.com/office/drawing/2014/main" id="{D4AC2ED5-C697-3448-B984-1B9DDFFAC365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tx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tx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07881376-9A9A-3E46-B154-C590840649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9225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e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6A6B14E-B195-ED4E-AF31-A97EE2B012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F821636-BBDB-254D-AA2A-31A3AFA1293B}"/>
              </a:ext>
            </a:extLst>
          </p:cNvPr>
          <p:cNvSpPr/>
          <p:nvPr userDrawn="1"/>
        </p:nvSpPr>
        <p:spPr>
          <a:xfrm>
            <a:off x="0" y="-17253"/>
            <a:ext cx="12192000" cy="11785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4CC3F215-25F0-F842-B55D-6157C55C0DD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5279" y="1314931"/>
            <a:ext cx="8178097" cy="5193015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9EE824DA-ED9F-AB45-800D-857977B117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1" y="6507948"/>
            <a:ext cx="5411790" cy="3500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1" name="Title Placeholder 3">
            <a:extLst>
              <a:ext uri="{FF2B5EF4-FFF2-40B4-BE49-F238E27FC236}">
                <a16:creationId xmlns:a16="http://schemas.microsoft.com/office/drawing/2014/main" id="{374270C9-4D64-9648-ACB4-D53D12C3E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8178095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DC74A232-266F-FB4B-BCBA-1E7E50FE7A2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5281" y="599920"/>
            <a:ext cx="8178095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24">
            <a:extLst>
              <a:ext uri="{FF2B5EF4-FFF2-40B4-BE49-F238E27FC236}">
                <a16:creationId xmlns:a16="http://schemas.microsoft.com/office/drawing/2014/main" id="{EF502D01-C9E4-DC43-9872-5FE74989A40A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tx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tx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808B25E3-52A6-6445-9D53-AC85E6B8333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F8CA4137-5760-469D-9770-2194E077FAC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945591" y="547991"/>
            <a:ext cx="2747167" cy="5762018"/>
          </a:xfrm>
          <a:prstGeom prst="rect">
            <a:avLst/>
          </a:prstGeom>
        </p:spPr>
      </p:pic>
      <p:pic>
        <p:nvPicPr>
          <p:cNvPr id="21" name="Picture 20" descr="A screenshot of a cell phone&#10;&#10;Description automatically generated">
            <a:extLst>
              <a:ext uri="{FF2B5EF4-FFF2-40B4-BE49-F238E27FC236}">
                <a16:creationId xmlns:a16="http://schemas.microsoft.com/office/drawing/2014/main" id="{D91F037D-7B91-4CEE-859C-4B0385FE26E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65415" y="1088531"/>
            <a:ext cx="2307519" cy="4994055"/>
          </a:xfrm>
          <a:prstGeom prst="rect">
            <a:avLst/>
          </a:prstGeom>
          <a:ln>
            <a:noFill/>
          </a:ln>
        </p:spPr>
      </p:pic>
      <p:sp>
        <p:nvSpPr>
          <p:cNvPr id="22" name="Graphic 9">
            <a:extLst>
              <a:ext uri="{FF2B5EF4-FFF2-40B4-BE49-F238E27FC236}">
                <a16:creationId xmlns:a16="http://schemas.microsoft.com/office/drawing/2014/main" id="{36E900EB-5DB6-4D8E-BA28-FB2CC388E12C}"/>
              </a:ext>
            </a:extLst>
          </p:cNvPr>
          <p:cNvSpPr/>
          <p:nvPr userDrawn="1"/>
        </p:nvSpPr>
        <p:spPr>
          <a:xfrm>
            <a:off x="9165374" y="751203"/>
            <a:ext cx="2307600" cy="461146"/>
          </a:xfrm>
          <a:custGeom>
            <a:avLst/>
            <a:gdLst>
              <a:gd name="connsiteX0" fmla="*/ 2499670 w 2499670"/>
              <a:gd name="connsiteY0" fmla="*/ 259202 h 461146"/>
              <a:gd name="connsiteX1" fmla="*/ 2240627 w 2499670"/>
              <a:gd name="connsiteY1" fmla="*/ 0 h 461146"/>
              <a:gd name="connsiteX2" fmla="*/ 2004505 w 2499670"/>
              <a:gd name="connsiteY2" fmla="*/ 0 h 461146"/>
              <a:gd name="connsiteX3" fmla="*/ 1936206 w 2499670"/>
              <a:gd name="connsiteY3" fmla="*/ 60799 h 461146"/>
              <a:gd name="connsiteX4" fmla="*/ 1793609 w 2499670"/>
              <a:gd name="connsiteY4" fmla="*/ 207947 h 461146"/>
              <a:gd name="connsiteX5" fmla="*/ 706061 w 2499670"/>
              <a:gd name="connsiteY5" fmla="*/ 207947 h 461146"/>
              <a:gd name="connsiteX6" fmla="*/ 563464 w 2499670"/>
              <a:gd name="connsiteY6" fmla="*/ 60645 h 461146"/>
              <a:gd name="connsiteX7" fmla="*/ 495165 w 2499670"/>
              <a:gd name="connsiteY7" fmla="*/ 0 h 461146"/>
              <a:gd name="connsiteX8" fmla="*/ 259043 w 2499670"/>
              <a:gd name="connsiteY8" fmla="*/ 0 h 461146"/>
              <a:gd name="connsiteX9" fmla="*/ 0 w 2499670"/>
              <a:gd name="connsiteY9" fmla="*/ 259202 h 461146"/>
              <a:gd name="connsiteX10" fmla="*/ 0 w 2499670"/>
              <a:gd name="connsiteY10" fmla="*/ 461146 h 461146"/>
              <a:gd name="connsiteX11" fmla="*/ 2499670 w 2499670"/>
              <a:gd name="connsiteY11" fmla="*/ 461146 h 461146"/>
              <a:gd name="connsiteX12" fmla="*/ 2499670 w 2499670"/>
              <a:gd name="connsiteY12" fmla="*/ 259202 h 461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499670" h="461146">
                <a:moveTo>
                  <a:pt x="2499670" y="259202"/>
                </a:moveTo>
                <a:cubicBezTo>
                  <a:pt x="2499670" y="116210"/>
                  <a:pt x="2383532" y="0"/>
                  <a:pt x="2240627" y="0"/>
                </a:cubicBezTo>
                <a:lnTo>
                  <a:pt x="2004505" y="0"/>
                </a:lnTo>
                <a:cubicBezTo>
                  <a:pt x="1969586" y="0"/>
                  <a:pt x="1940206" y="26167"/>
                  <a:pt x="1936206" y="60799"/>
                </a:cubicBezTo>
                <a:cubicBezTo>
                  <a:pt x="1925131" y="159770"/>
                  <a:pt x="1878521" y="207947"/>
                  <a:pt x="1793609" y="207947"/>
                </a:cubicBezTo>
                <a:lnTo>
                  <a:pt x="706061" y="207947"/>
                </a:lnTo>
                <a:cubicBezTo>
                  <a:pt x="621149" y="207947"/>
                  <a:pt x="574386" y="159770"/>
                  <a:pt x="563464" y="60645"/>
                </a:cubicBezTo>
                <a:cubicBezTo>
                  <a:pt x="559465" y="26167"/>
                  <a:pt x="530084" y="0"/>
                  <a:pt x="495165" y="0"/>
                </a:cubicBezTo>
                <a:lnTo>
                  <a:pt x="259043" y="0"/>
                </a:lnTo>
                <a:cubicBezTo>
                  <a:pt x="116139" y="0"/>
                  <a:pt x="0" y="116210"/>
                  <a:pt x="0" y="259202"/>
                </a:cubicBezTo>
                <a:lnTo>
                  <a:pt x="0" y="461146"/>
                </a:lnTo>
                <a:lnTo>
                  <a:pt x="2499670" y="461146"/>
                </a:lnTo>
                <a:lnTo>
                  <a:pt x="2499670" y="259202"/>
                </a:lnTo>
                <a:close/>
              </a:path>
            </a:pathLst>
          </a:custGeom>
          <a:solidFill>
            <a:srgbClr val="005CBE"/>
          </a:solidFill>
          <a:ln w="31750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56304691-C154-498A-B081-26460A8C0C1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149174" y="1212850"/>
            <a:ext cx="2340000" cy="4894263"/>
          </a:xfrm>
          <a:ln w="3175"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331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ptop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BB42323-ECB4-8449-937B-74BF0D5212D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7BABC27-A8F3-BA4B-9E24-B2CAAD9A53A8}"/>
              </a:ext>
            </a:extLst>
          </p:cNvPr>
          <p:cNvSpPr/>
          <p:nvPr userDrawn="1"/>
        </p:nvSpPr>
        <p:spPr>
          <a:xfrm>
            <a:off x="0" y="0"/>
            <a:ext cx="12192000" cy="11785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4CC3F215-25F0-F842-B55D-6157C55C0DD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7382933" y="1314931"/>
            <a:ext cx="4433147" cy="5193015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9EE824DA-ED9F-AB45-800D-857977B117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1" y="6507948"/>
            <a:ext cx="5411790" cy="3500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CE5B19A-F9D0-6B4C-9B50-6257B9FF40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972"/>
          <a:stretch/>
        </p:blipFill>
        <p:spPr>
          <a:xfrm>
            <a:off x="0" y="1984703"/>
            <a:ext cx="7186246" cy="4348411"/>
          </a:xfrm>
          <a:prstGeom prst="rect">
            <a:avLst/>
          </a:prstGeom>
        </p:spPr>
      </p:pic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90F6AF20-5B9F-4347-B510-95BDDDB23DD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86855" y="2260281"/>
            <a:ext cx="5711588" cy="3568889"/>
          </a:xfrm>
          <a:prstGeom prst="rect">
            <a:avLst/>
          </a:prstGeom>
          <a:solidFill>
            <a:schemeClr val="bg1"/>
          </a:solidFill>
          <a:ln w="22225">
            <a:solidFill>
              <a:schemeClr val="tx2"/>
            </a:solidFill>
          </a:ln>
        </p:spPr>
        <p:txBody>
          <a:bodyPr wrap="square" anchor="ctr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Title Placeholder 3">
            <a:extLst>
              <a:ext uri="{FF2B5EF4-FFF2-40B4-BE49-F238E27FC236}">
                <a16:creationId xmlns:a16="http://schemas.microsoft.com/office/drawing/2014/main" id="{2EB67777-3CAD-004E-AD93-8D26266033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11480800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ECBDAC97-1BDF-B14B-AB61-DA973340921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5281" y="599920"/>
            <a:ext cx="11480800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24">
            <a:extLst>
              <a:ext uri="{FF2B5EF4-FFF2-40B4-BE49-F238E27FC236}">
                <a16:creationId xmlns:a16="http://schemas.microsoft.com/office/drawing/2014/main" id="{D42FE353-B49F-1848-93D7-FB91BF956977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tx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tx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84C5AF2-A861-B74D-8CBF-54A8FD7E922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483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shTracker E2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42EBB23-EC2C-0048-A473-0267D98E624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C9B48DC-96AA-D549-A44B-8826DD6E4D03}"/>
              </a:ext>
            </a:extLst>
          </p:cNvPr>
          <p:cNvSpPr/>
          <p:nvPr userDrawn="1"/>
        </p:nvSpPr>
        <p:spPr>
          <a:xfrm>
            <a:off x="0" y="0"/>
            <a:ext cx="12192000" cy="11785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47268949-07B4-E041-AF8C-A67B7FF13396}"/>
              </a:ext>
            </a:extLst>
          </p:cNvPr>
          <p:cNvSpPr/>
          <p:nvPr userDrawn="1"/>
        </p:nvSpPr>
        <p:spPr>
          <a:xfrm>
            <a:off x="8896452" y="556411"/>
            <a:ext cx="1907016" cy="2235200"/>
          </a:xfrm>
          <a:prstGeom prst="roundRect">
            <a:avLst>
              <a:gd name="adj" fmla="val 20219"/>
            </a:avLst>
          </a:prstGeom>
          <a:solidFill>
            <a:srgbClr val="F0F0F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9EE824DA-ED9F-AB45-800D-857977B117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81" y="6507948"/>
            <a:ext cx="5411790" cy="3500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26AB11A-8033-F243-B1F4-89C946A76C4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090760" y="547991"/>
            <a:ext cx="3518400" cy="5762018"/>
          </a:xfrm>
          <a:prstGeom prst="rect">
            <a:avLst/>
          </a:prstGeom>
        </p:spPr>
      </p:pic>
      <p:sp>
        <p:nvSpPr>
          <p:cNvPr id="14" name="Content Placeholder 10">
            <a:extLst>
              <a:ext uri="{FF2B5EF4-FFF2-40B4-BE49-F238E27FC236}">
                <a16:creationId xmlns:a16="http://schemas.microsoft.com/office/drawing/2014/main" id="{32BC9DFF-463C-7A46-93BC-B9BEAFE7FA2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5279" y="1314931"/>
            <a:ext cx="7656815" cy="5193015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Placeholder 3">
            <a:extLst>
              <a:ext uri="{FF2B5EF4-FFF2-40B4-BE49-F238E27FC236}">
                <a16:creationId xmlns:a16="http://schemas.microsoft.com/office/drawing/2014/main" id="{F12DB1F4-CE02-BF43-9A1C-66217977B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8178095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5524AAC-8DDC-AB4F-A2FC-2E173E65601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5281" y="599920"/>
            <a:ext cx="8178095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Slide Number Placeholder 24">
            <a:extLst>
              <a:ext uri="{FF2B5EF4-FFF2-40B4-BE49-F238E27FC236}">
                <a16:creationId xmlns:a16="http://schemas.microsoft.com/office/drawing/2014/main" id="{D7C9AF8F-4768-1D41-BED1-F23843DE8563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tx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tx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  <p:pic>
        <p:nvPicPr>
          <p:cNvPr id="19" name="Picture Placeholder 7" descr="A picture containing text, iPod, electronics&#10;&#10;Description automatically generated">
            <a:extLst>
              <a:ext uri="{FF2B5EF4-FFF2-40B4-BE49-F238E27FC236}">
                <a16:creationId xmlns:a16="http://schemas.microsoft.com/office/drawing/2014/main" id="{1E8C16A1-6886-4CBF-87F1-5633505E1D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29232" y="1912440"/>
            <a:ext cx="3041456" cy="3041454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589E10CA-DF13-274C-8324-71A154803BE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032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ank_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EDD2230-7D9E-0646-A133-2F0AF8847D8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886F8E9-FA2E-8B49-9327-074F437EF707}"/>
              </a:ext>
            </a:extLst>
          </p:cNvPr>
          <p:cNvSpPr/>
          <p:nvPr userDrawn="1"/>
        </p:nvSpPr>
        <p:spPr>
          <a:xfrm>
            <a:off x="0" y="0"/>
            <a:ext cx="12192000" cy="11785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CF24A6C-8570-5149-AB40-B21A2DA62B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</a:t>
            </a:r>
          </a:p>
        </p:txBody>
      </p:sp>
      <p:sp>
        <p:nvSpPr>
          <p:cNvPr id="12" name="Title Placeholder 3">
            <a:extLst>
              <a:ext uri="{FF2B5EF4-FFF2-40B4-BE49-F238E27FC236}">
                <a16:creationId xmlns:a16="http://schemas.microsoft.com/office/drawing/2014/main" id="{A5EB260C-6C21-3247-A7B1-FCA937C904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11480800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C7C6308-7C3E-C44A-B1E7-8509C9CA23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281" y="599920"/>
            <a:ext cx="11480800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24">
            <a:extLst>
              <a:ext uri="{FF2B5EF4-FFF2-40B4-BE49-F238E27FC236}">
                <a16:creationId xmlns:a16="http://schemas.microsoft.com/office/drawing/2014/main" id="{52632E78-2E50-4248-A339-6FC2F2291CE6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tx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tx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72B79333-E670-1D4F-8B38-BA974C37E7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84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8A71BA9-F02F-8848-A4E6-036B7F8514E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79C1D59-BA6C-264B-9774-491332853F9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06881" y="3971730"/>
            <a:ext cx="9578238" cy="506159"/>
          </a:xfrm>
          <a:prstGeom prst="rect">
            <a:avLst/>
          </a:prstGeom>
        </p:spPr>
        <p:txBody>
          <a:bodyPr/>
          <a:lstStyle>
            <a:lvl1pPr marL="0" indent="0" algn="ctr">
              <a:tabLst>
                <a:tab pos="504825" algn="l"/>
              </a:tabLst>
              <a:defRPr sz="14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b="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b="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b="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 dirty="0"/>
              <a:t>Subtitle Placeholder</a:t>
            </a: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07BB9145-1EF0-B549-B3BA-C45CDA54DA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49333" y="5821315"/>
            <a:ext cx="1693331" cy="506159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01B9B2E1-B537-E34F-86DA-1381DBEB65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06881" y="2272036"/>
            <a:ext cx="9582792" cy="1647411"/>
          </a:xfrm>
          <a:prstGeom prst="rect">
            <a:avLst/>
          </a:prstGeom>
          <a:effectLst>
            <a:outerShdw blurRad="762000" dist="381000" dir="5400000" algn="t" rotWithShape="0">
              <a:prstClr val="black">
                <a:alpha val="30000"/>
              </a:prstClr>
            </a:outerShdw>
          </a:effectLst>
        </p:spPr>
        <p:txBody>
          <a:bodyPr anchor="ctr"/>
          <a:lstStyle>
            <a:lvl1pPr algn="ctr">
              <a:defRPr sz="9600" b="0" i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66366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lank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CF24A6C-8570-5149-AB40-B21A2DA62B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</a:t>
            </a:r>
          </a:p>
        </p:txBody>
      </p:sp>
      <p:sp>
        <p:nvSpPr>
          <p:cNvPr id="12" name="Title Placeholder 3">
            <a:extLst>
              <a:ext uri="{FF2B5EF4-FFF2-40B4-BE49-F238E27FC236}">
                <a16:creationId xmlns:a16="http://schemas.microsoft.com/office/drawing/2014/main" id="{A5EB260C-6C21-3247-A7B1-FCA937C904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11480800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C7C6308-7C3E-C44A-B1E7-8509C9CA231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281" y="599920"/>
            <a:ext cx="11480800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517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3D4B895-2CF5-DF4C-A995-1E26C090EE8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A2D0FE9-80BE-AF49-8BC2-835801CB8725}"/>
              </a:ext>
            </a:extLst>
          </p:cNvPr>
          <p:cNvSpPr/>
          <p:nvPr userDrawn="1"/>
        </p:nvSpPr>
        <p:spPr>
          <a:xfrm>
            <a:off x="0" y="0"/>
            <a:ext cx="12192000" cy="11785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DE51C22-6D99-7242-984B-39CEFC3662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963" y="1330007"/>
            <a:ext cx="11481117" cy="5162868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 marL="354013" indent="-171450">
              <a:buClr>
                <a:schemeClr val="tx1">
                  <a:lumMod val="75000"/>
                  <a:lumOff val="25000"/>
                </a:schemeClr>
              </a:buClr>
              <a:buFont typeface="System Font Regular"/>
              <a:buChar char="–"/>
              <a:tabLst/>
              <a:defRPr sz="1400"/>
            </a:lvl3pPr>
            <a:lvl4pPr marL="463550" indent="-109538">
              <a:buClr>
                <a:schemeClr val="bg1">
                  <a:lumMod val="75000"/>
                </a:schemeClr>
              </a:buClr>
              <a:buSzPct val="75000"/>
              <a:buFont typeface="Arial" panose="020B0604020202020204" pitchFamily="34" charset="0"/>
              <a:buChar char="•"/>
              <a:tabLst/>
              <a:defRPr sz="1400"/>
            </a:lvl4pPr>
            <a:lvl5pPr marL="573088" indent="-109538">
              <a:buClr>
                <a:schemeClr val="bg1">
                  <a:lumMod val="75000"/>
                </a:schemeClr>
              </a:buClr>
              <a:buSzPct val="75000"/>
              <a:tabLst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CCE8952-0848-D140-992A-F72DF78681F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CONFIDENTIAL</a:t>
            </a:r>
          </a:p>
        </p:txBody>
      </p:sp>
      <p:sp>
        <p:nvSpPr>
          <p:cNvPr id="10" name="Title Placeholder 3">
            <a:extLst>
              <a:ext uri="{FF2B5EF4-FFF2-40B4-BE49-F238E27FC236}">
                <a16:creationId xmlns:a16="http://schemas.microsoft.com/office/drawing/2014/main" id="{89C32429-C34F-5146-BD99-DA1407BCF0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11480800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91225FFC-6012-E445-BB22-64B2869C0AC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281" y="599920"/>
            <a:ext cx="11480800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24">
            <a:extLst>
              <a:ext uri="{FF2B5EF4-FFF2-40B4-BE49-F238E27FC236}">
                <a16:creationId xmlns:a16="http://schemas.microsoft.com/office/drawing/2014/main" id="{6A0D0995-7B0B-C64C-A401-093E66B5B46B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tx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tx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C28896EA-490D-7E4D-9160-DDBE26994D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605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284A6A2-D487-D547-B093-BFCBF92B552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39736CD-B4AE-DE45-A362-B853BACC9F29}"/>
              </a:ext>
            </a:extLst>
          </p:cNvPr>
          <p:cNvSpPr/>
          <p:nvPr userDrawn="1"/>
        </p:nvSpPr>
        <p:spPr>
          <a:xfrm>
            <a:off x="0" y="0"/>
            <a:ext cx="12192000" cy="11785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DE51C22-6D99-7242-984B-39CEFC3662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964" y="1330007"/>
            <a:ext cx="5508000" cy="5177940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1"/>
              </a:buClr>
              <a:defRPr sz="1400">
                <a:solidFill>
                  <a:schemeClr val="tx1"/>
                </a:solidFill>
              </a:defRPr>
            </a:lvl2pPr>
            <a:lvl3pPr>
              <a:buClr>
                <a:schemeClr val="bg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bg1"/>
              </a:buClr>
              <a:defRPr sz="1400">
                <a:solidFill>
                  <a:schemeClr val="tx1"/>
                </a:solidFill>
              </a:defRPr>
            </a:lvl4pPr>
            <a:lvl5pPr>
              <a:buClr>
                <a:schemeClr val="bg1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CCE8952-0848-D140-992A-F72DF78681F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6AFF1215-9E31-9B41-9BC0-590B230259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49038" y="1330007"/>
            <a:ext cx="5507998" cy="5177940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Slide Number Placeholder 24">
            <a:extLst>
              <a:ext uri="{FF2B5EF4-FFF2-40B4-BE49-F238E27FC236}">
                <a16:creationId xmlns:a16="http://schemas.microsoft.com/office/drawing/2014/main" id="{8740A9F3-15C3-0941-9211-3E92C0A19F28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bg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bg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  <p:sp>
        <p:nvSpPr>
          <p:cNvPr id="10" name="Title Placeholder 3">
            <a:extLst>
              <a:ext uri="{FF2B5EF4-FFF2-40B4-BE49-F238E27FC236}">
                <a16:creationId xmlns:a16="http://schemas.microsoft.com/office/drawing/2014/main" id="{C582F116-B04D-D54E-9845-F7B2102DB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11480800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02056A-2925-3F4F-B9BB-771D318E9E8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5281" y="599920"/>
            <a:ext cx="11480800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C3AA7EC-3E6D-9247-AA73-3E669BCC69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4416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284A6A2-D487-D547-B093-BFCBF92B552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39736CD-B4AE-DE45-A362-B853BACC9F29}"/>
              </a:ext>
            </a:extLst>
          </p:cNvPr>
          <p:cNvSpPr/>
          <p:nvPr userDrawn="1"/>
        </p:nvSpPr>
        <p:spPr>
          <a:xfrm>
            <a:off x="0" y="0"/>
            <a:ext cx="12192000" cy="11785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FF8E938-6AFD-4D4D-8E43-C16536A13B97}"/>
              </a:ext>
            </a:extLst>
          </p:cNvPr>
          <p:cNvSpPr/>
          <p:nvPr userDrawn="1"/>
        </p:nvSpPr>
        <p:spPr>
          <a:xfrm>
            <a:off x="0" y="1178560"/>
            <a:ext cx="6096000" cy="567943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DE51C22-6D99-7242-984B-39CEFC3662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964" y="1330007"/>
            <a:ext cx="5400000" cy="5177940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CCE8952-0848-D140-992A-F72DF78681F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6AFF1215-9E31-9B41-9BC0-590B230259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69641" y="1330007"/>
            <a:ext cx="5400000" cy="5177940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Slide Number Placeholder 24">
            <a:extLst>
              <a:ext uri="{FF2B5EF4-FFF2-40B4-BE49-F238E27FC236}">
                <a16:creationId xmlns:a16="http://schemas.microsoft.com/office/drawing/2014/main" id="{8740A9F3-15C3-0941-9211-3E92C0A19F28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bg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bg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  <p:sp>
        <p:nvSpPr>
          <p:cNvPr id="10" name="Title Placeholder 3">
            <a:extLst>
              <a:ext uri="{FF2B5EF4-FFF2-40B4-BE49-F238E27FC236}">
                <a16:creationId xmlns:a16="http://schemas.microsoft.com/office/drawing/2014/main" id="{C582F116-B04D-D54E-9845-F7B2102DB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11480800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02056A-2925-3F4F-B9BB-771D318E9E8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5281" y="599920"/>
            <a:ext cx="11480800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C3AA7EC-3E6D-9247-AA73-3E669BCC69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271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E284A6A2-D487-D547-B093-BFCBF92B552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39736CD-B4AE-DE45-A362-B853BACC9F29}"/>
              </a:ext>
            </a:extLst>
          </p:cNvPr>
          <p:cNvSpPr/>
          <p:nvPr userDrawn="1"/>
        </p:nvSpPr>
        <p:spPr>
          <a:xfrm>
            <a:off x="0" y="0"/>
            <a:ext cx="12192000" cy="117856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ts val="1000"/>
              </a:spcBef>
            </a:pP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DE51C22-6D99-7242-984B-39CEFC36628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8000" y="1330008"/>
            <a:ext cx="3600000" cy="5177940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1"/>
              </a:buClr>
              <a:defRPr sz="1400">
                <a:solidFill>
                  <a:schemeClr val="tx1"/>
                </a:solidFill>
              </a:defRPr>
            </a:lvl2pPr>
            <a:lvl3pPr>
              <a:buClr>
                <a:schemeClr val="bg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bg1"/>
              </a:buClr>
              <a:defRPr sz="1400">
                <a:solidFill>
                  <a:schemeClr val="tx1"/>
                </a:solidFill>
              </a:defRPr>
            </a:lvl4pPr>
            <a:lvl5pPr>
              <a:buClr>
                <a:schemeClr val="bg1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CCE8952-0848-D140-992A-F72DF78681F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6AFF1215-9E31-9B41-9BC0-590B2302598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44000" y="1330008"/>
            <a:ext cx="3600000" cy="5177940"/>
          </a:xfrm>
          <a:prstGeom prst="rect">
            <a:avLst/>
          </a:prstGeom>
        </p:spPr>
        <p:txBody>
          <a:bodyPr/>
          <a:lstStyle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Slide Number Placeholder 24">
            <a:extLst>
              <a:ext uri="{FF2B5EF4-FFF2-40B4-BE49-F238E27FC236}">
                <a16:creationId xmlns:a16="http://schemas.microsoft.com/office/drawing/2014/main" id="{8740A9F3-15C3-0941-9211-3E92C0A19F28}"/>
              </a:ext>
            </a:extLst>
          </p:cNvPr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bg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bg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  <p:sp>
        <p:nvSpPr>
          <p:cNvPr id="10" name="Title Placeholder 3">
            <a:extLst>
              <a:ext uri="{FF2B5EF4-FFF2-40B4-BE49-F238E27FC236}">
                <a16:creationId xmlns:a16="http://schemas.microsoft.com/office/drawing/2014/main" id="{C582F116-B04D-D54E-9845-F7B2102DB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226386"/>
            <a:ext cx="11480800" cy="357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2602056A-2925-3F4F-B9BB-771D318E9E8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35281" y="599920"/>
            <a:ext cx="11480800" cy="35718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C3AA7EC-3E6D-9247-AA73-3E669BCC69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5123B17E-F455-438F-9DD0-FBFE4A61886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296000" y="1330008"/>
            <a:ext cx="3600000" cy="5177940"/>
          </a:xfrm>
          <a:prstGeom prst="rect">
            <a:avLst/>
          </a:prstGeo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bg1"/>
              </a:buClr>
              <a:defRPr sz="1400">
                <a:solidFill>
                  <a:schemeClr val="tx1"/>
                </a:solidFill>
              </a:defRPr>
            </a:lvl2pPr>
            <a:lvl3pPr>
              <a:buClr>
                <a:schemeClr val="bg1"/>
              </a:buClr>
              <a:defRPr sz="1400">
                <a:solidFill>
                  <a:schemeClr val="tx1"/>
                </a:solidFill>
              </a:defRPr>
            </a:lvl3pPr>
            <a:lvl4pPr>
              <a:buClr>
                <a:schemeClr val="bg1"/>
              </a:buClr>
              <a:defRPr sz="1400">
                <a:solidFill>
                  <a:schemeClr val="tx1"/>
                </a:solidFill>
              </a:defRPr>
            </a:lvl4pPr>
            <a:lvl5pPr>
              <a:buClr>
                <a:schemeClr val="bg1"/>
              </a:buCl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9368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3.svg"/><Relationship Id="rId20" Type="http://schemas.openxmlformats.org/officeDocument/2006/relationships/slideLayout" Target="../slideLayouts/slideLayout20.xml"/><Relationship Id="rId41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3C4F385-A094-4AF7-8C6E-11D2E30DE9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4080945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3" imgW="498" imgH="499" progId="TCLayout.ActiveDocument.1">
                  <p:embed/>
                </p:oleObj>
              </mc:Choice>
              <mc:Fallback>
                <p:oleObj name="think-cell Slide" r:id="rId43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3C4F385-A094-4AF7-8C6E-11D2E30DE9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Slide Number Placeholder 24"/>
          <p:cNvSpPr txBox="1">
            <a:spLocks/>
          </p:cNvSpPr>
          <p:nvPr userDrawn="1"/>
        </p:nvSpPr>
        <p:spPr>
          <a:xfrm>
            <a:off x="61323" y="6492874"/>
            <a:ext cx="643012" cy="3651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33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6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2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55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0" algn="l" defTabSz="91433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36C48702-E445-134E-B960-6F692773524F}" type="slidenum">
              <a:rPr lang="en-US" sz="800" b="1" i="0" smtClean="0">
                <a:solidFill>
                  <a:schemeClr val="tx1"/>
                </a:solidFill>
                <a:latin typeface="Arial" panose="020B0604020202020204" pitchFamily="34" charset="0"/>
                <a:ea typeface="Open Sans Semibold" charset="0"/>
                <a:cs typeface="Arial" panose="020B0604020202020204" pitchFamily="34" charset="0"/>
              </a:rPr>
              <a:pPr algn="l"/>
              <a:t>‹#›</a:t>
            </a:fld>
            <a:endParaRPr lang="en-US" sz="800" b="1" i="0" dirty="0">
              <a:solidFill>
                <a:schemeClr val="tx1"/>
              </a:solidFill>
              <a:latin typeface="Arial" panose="020B0604020202020204" pitchFamily="34" charset="0"/>
              <a:ea typeface="Open Sans Semibold" charset="0"/>
              <a:cs typeface="Arial" panose="020B0604020202020204" pitchFamily="34" charset="0"/>
            </a:endParaRPr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60114DC3-4236-B444-8983-482E071667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80" y="151447"/>
            <a:ext cx="11480800" cy="50863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DF44685-604A-6248-8D5E-4889909ADD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5280" y="1330007"/>
            <a:ext cx="11480800" cy="516286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712F00B8-CB4B-3E49-9E5F-B46AD1A1BDA5}"/>
              </a:ext>
            </a:extLst>
          </p:cNvPr>
          <p:cNvPicPr>
            <a:picLocks noChangeAspect="1"/>
          </p:cNvPicPr>
          <p:nvPr userDrawn="1"/>
        </p:nvPicPr>
        <p:blipFill>
          <a:blip r:embed="rId4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11190491" y="6544342"/>
            <a:ext cx="844553" cy="252448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826C6F-8608-0141-A9DA-D4AD5DD91C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279" y="6507948"/>
            <a:ext cx="5411791" cy="3500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377184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9" r:id="rId1"/>
    <p:sldLayoutId id="2147484219" r:id="rId2"/>
    <p:sldLayoutId id="2147484174" r:id="rId3"/>
    <p:sldLayoutId id="2147484162" r:id="rId4"/>
    <p:sldLayoutId id="2147484220" r:id="rId5"/>
    <p:sldLayoutId id="2147484148" r:id="rId6"/>
    <p:sldLayoutId id="2147484221" r:id="rId7"/>
    <p:sldLayoutId id="2147484194" r:id="rId8"/>
    <p:sldLayoutId id="2147484222" r:id="rId9"/>
    <p:sldLayoutId id="2147484193" r:id="rId10"/>
    <p:sldLayoutId id="2147484191" r:id="rId11"/>
    <p:sldLayoutId id="2147484150" r:id="rId12"/>
    <p:sldLayoutId id="2147484195" r:id="rId13"/>
    <p:sldLayoutId id="2147484196" r:id="rId14"/>
    <p:sldLayoutId id="2147484197" r:id="rId15"/>
    <p:sldLayoutId id="2147484053" r:id="rId16"/>
    <p:sldLayoutId id="2147484213" r:id="rId17"/>
    <p:sldLayoutId id="2147484187" r:id="rId18"/>
    <p:sldLayoutId id="2147484037" r:id="rId19"/>
    <p:sldLayoutId id="2147484192" r:id="rId20"/>
    <p:sldLayoutId id="2147484200" r:id="rId21"/>
    <p:sldLayoutId id="2147484201" r:id="rId22"/>
    <p:sldLayoutId id="2147484167" r:id="rId23"/>
    <p:sldLayoutId id="2147484202" r:id="rId24"/>
    <p:sldLayoutId id="2147484203" r:id="rId25"/>
    <p:sldLayoutId id="2147484145" r:id="rId26"/>
    <p:sldLayoutId id="2147484204" r:id="rId27"/>
    <p:sldLayoutId id="2147484164" r:id="rId28"/>
    <p:sldLayoutId id="2147484178" r:id="rId29"/>
    <p:sldLayoutId id="2147484198" r:id="rId30"/>
    <p:sldLayoutId id="2147484205" r:id="rId31"/>
    <p:sldLayoutId id="2147484206" r:id="rId32"/>
    <p:sldLayoutId id="2147484207" r:id="rId33"/>
    <p:sldLayoutId id="2147484143" r:id="rId34"/>
    <p:sldLayoutId id="2147484209" r:id="rId35"/>
    <p:sldLayoutId id="2147484211" r:id="rId36"/>
    <p:sldLayoutId id="2147484160" r:id="rId37"/>
    <p:sldLayoutId id="2147484214" r:id="rId38"/>
    <p:sldLayoutId id="2147484215" r:id="rId39"/>
    <p:sldLayoutId id="2147484180" r:id="rId40"/>
  </p:sldLayoutIdLst>
  <p:hf sldNum="0" hdr="0" dt="0"/>
  <p:txStyles>
    <p:titleStyle>
      <a:lvl1pPr algn="l" defTabSz="914318" rtl="0" eaLnBrk="1" latinLnBrk="0" hangingPunct="1">
        <a:lnSpc>
          <a:spcPct val="100000"/>
        </a:lnSpc>
        <a:spcBef>
          <a:spcPct val="0"/>
        </a:spcBef>
        <a:buNone/>
        <a:defRPr sz="2400" b="1" i="0" kern="1200" spc="-100" baseline="0">
          <a:solidFill>
            <a:schemeClr val="tx1"/>
          </a:solidFill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</a:defRPr>
      </a:lvl1pPr>
    </p:titleStyle>
    <p:bodyStyle>
      <a:lvl1pPr marL="0" indent="0" algn="l" defTabSz="914318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71450" indent="-171450" algn="l" defTabSz="914318" rtl="0" eaLnBrk="1" latinLnBrk="0" hangingPunct="1">
        <a:lnSpc>
          <a:spcPct val="100000"/>
        </a:lnSpc>
        <a:spcBef>
          <a:spcPts val="1000"/>
        </a:spcBef>
        <a:buClr>
          <a:schemeClr val="tx1">
            <a:lumMod val="75000"/>
            <a:lumOff val="25000"/>
          </a:schemeClr>
        </a:buClr>
        <a:buFont typeface="Arial" panose="020B0604020202020204" pitchFamily="34" charset="0"/>
        <a:buChar char="•"/>
        <a:defRPr sz="1400" kern="1200">
          <a:solidFill>
            <a:schemeClr val="tx1">
              <a:lumMod val="65000"/>
              <a:lumOff val="35000"/>
            </a:schemeClr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2pPr>
      <a:lvl3pPr marL="354013" indent="-171450" algn="l" defTabSz="914318" rtl="0" eaLnBrk="1" latinLnBrk="0" hangingPunct="1">
        <a:lnSpc>
          <a:spcPct val="100000"/>
        </a:lnSpc>
        <a:spcBef>
          <a:spcPts val="1000"/>
        </a:spcBef>
        <a:buClr>
          <a:schemeClr val="tx1">
            <a:lumMod val="75000"/>
            <a:lumOff val="25000"/>
          </a:schemeClr>
        </a:buClr>
        <a:buFont typeface="System Font Regular"/>
        <a:buChar char="–"/>
        <a:tabLst/>
        <a:defRPr sz="1400" kern="1200">
          <a:solidFill>
            <a:schemeClr val="tx1">
              <a:lumMod val="65000"/>
              <a:lumOff val="35000"/>
            </a:schemeClr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3pPr>
      <a:lvl4pPr marL="463550" indent="-109538" algn="l" defTabSz="914318" rtl="0" eaLnBrk="1" latinLnBrk="0" hangingPunct="1">
        <a:lnSpc>
          <a:spcPct val="100000"/>
        </a:lnSpc>
        <a:spcBef>
          <a:spcPts val="1000"/>
        </a:spcBef>
        <a:buClr>
          <a:schemeClr val="bg1">
            <a:lumMod val="75000"/>
          </a:schemeClr>
        </a:buClr>
        <a:buSzPct val="75000"/>
        <a:buFont typeface="Arial" panose="020B0604020202020204" pitchFamily="34" charset="0"/>
        <a:buChar char="•"/>
        <a:tabLst>
          <a:tab pos="963613" algn="l"/>
        </a:tabLst>
        <a:defRPr sz="1400" kern="1200">
          <a:solidFill>
            <a:schemeClr val="tx1">
              <a:lumMod val="65000"/>
              <a:lumOff val="35000"/>
            </a:schemeClr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4pPr>
      <a:lvl5pPr marL="573088" indent="-109538" algn="l" defTabSz="914318" rtl="0" eaLnBrk="1" latinLnBrk="0" hangingPunct="1">
        <a:lnSpc>
          <a:spcPct val="100000"/>
        </a:lnSpc>
        <a:spcBef>
          <a:spcPts val="1000"/>
        </a:spcBef>
        <a:buClr>
          <a:schemeClr val="bg1">
            <a:lumMod val="75000"/>
          </a:schemeClr>
        </a:buClr>
        <a:buSzPct val="75000"/>
        <a:buFont typeface="Arial" panose="020B0604020202020204" pitchFamily="34" charset="0"/>
        <a:buChar char="•"/>
        <a:tabLst/>
        <a:defRPr sz="1400" kern="1200" baseline="0">
          <a:solidFill>
            <a:schemeClr val="tx1">
              <a:lumMod val="65000"/>
              <a:lumOff val="35000"/>
            </a:schemeClr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5pPr>
      <a:lvl6pPr marL="2514374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34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92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50" indent="-228580" algn="l" defTabSz="914318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9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8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8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36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4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53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12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71" algn="l" defTabSz="9143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>
          <p15:clr>
            <a:srgbClr val="F26B43"/>
          </p15:clr>
        </p15:guide>
        <p15:guide id="1" orient="horz" pos="2160">
          <p15:clr>
            <a:srgbClr val="F26B43"/>
          </p15:clr>
        </p15:guide>
        <p15:guide id="14" orient="horz" pos="346" userDrawn="1">
          <p15:clr>
            <a:srgbClr val="F26B43"/>
          </p15:clr>
        </p15:guide>
        <p15:guide id="27" orient="horz" pos="3952" userDrawn="1">
          <p15:clr>
            <a:srgbClr val="F26B43"/>
          </p15:clr>
        </p15:guide>
        <p15:guide id="28" pos="642" userDrawn="1">
          <p15:clr>
            <a:srgbClr val="F26B43"/>
          </p15:clr>
        </p15:guide>
        <p15:guide id="29" pos="7038" userDrawn="1">
          <p15:clr>
            <a:srgbClr val="F26B43"/>
          </p15:clr>
        </p15:guide>
        <p15:guide id="44">
          <p15:clr>
            <a:srgbClr val="F26B43"/>
          </p15:clr>
        </p15:guide>
        <p15:guide id="45" pos="7680">
          <p15:clr>
            <a:srgbClr val="F26B43"/>
          </p15:clr>
        </p15:guide>
        <p15:guide id="46" orient="horz">
          <p15:clr>
            <a:srgbClr val="F26B43"/>
          </p15:clr>
        </p15:guide>
        <p15:guide id="47" orient="horz" pos="4320">
          <p15:clr>
            <a:srgbClr val="F26B43"/>
          </p15:clr>
        </p15:guide>
        <p15:guide id="48" pos="1277" userDrawn="1">
          <p15:clr>
            <a:srgbClr val="F26B43"/>
          </p15:clr>
        </p15:guide>
        <p15:guide id="51" orient="horz" pos="709" userDrawn="1">
          <p15:clr>
            <a:srgbClr val="F26B43"/>
          </p15:clr>
        </p15:guide>
        <p15:guide id="52" pos="191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fif"/><Relationship Id="rId3" Type="http://schemas.openxmlformats.org/officeDocument/2006/relationships/oleObject" Target="../embeddings/oleObject4.bin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6" Type="http://schemas.openxmlformats.org/officeDocument/2006/relationships/image" Target="../media/image15.jp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.emf"/><Relationship Id="rId9" Type="http://schemas.openxmlformats.org/officeDocument/2006/relationships/image" Target="../media/image18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.xml"/><Relationship Id="rId5" Type="http://schemas.openxmlformats.org/officeDocument/2006/relationships/image" Target="../media/image21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.xml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3C174BE-4F4B-492C-92D3-47CBB2C4C9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885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3C174BE-4F4B-492C-92D3-47CBB2C4C9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B835F5F-D48C-4606-845E-3D4B957166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sv-SE" dirty="0"/>
              <a:t>Vasa Cup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4AD16CC-195F-4D33-BB0A-210C4DC385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sv-SE" dirty="0"/>
              <a:t>20-21 nov, TEAM 12</a:t>
            </a:r>
          </a:p>
        </p:txBody>
      </p:sp>
      <p:pic>
        <p:nvPicPr>
          <p:cNvPr id="8" name="Picture Placeholder 7" descr="Logo&#10;&#10;Description automatically generated">
            <a:extLst>
              <a:ext uri="{FF2B5EF4-FFF2-40B4-BE49-F238E27FC236}">
                <a16:creationId xmlns:a16="http://schemas.microsoft.com/office/drawing/2014/main" id="{FEDAF6A1-933E-4F2C-A9E1-2F388DF8E3B6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10" name="Picture 9" descr="Logo&#10;&#10;Description automatically generated">
            <a:extLst>
              <a:ext uri="{FF2B5EF4-FFF2-40B4-BE49-F238E27FC236}">
                <a16:creationId xmlns:a16="http://schemas.microsoft.com/office/drawing/2014/main" id="{EBFDB8EC-346B-4A2A-A2E7-23392F60419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271" y="-123824"/>
            <a:ext cx="1924050" cy="192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304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80A2A32-D921-4D5D-A989-888786299A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0914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80A2A32-D921-4D5D-A989-888786299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C13A05C-1F3E-4E4A-8C5B-27B7A54078D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sv-SE" dirty="0"/>
              <a:t>Introduktion av ”</a:t>
            </a:r>
            <a:r>
              <a:rPr lang="sv-SE" dirty="0" err="1"/>
              <a:t>core</a:t>
            </a:r>
            <a:r>
              <a:rPr lang="sv-SE" dirty="0"/>
              <a:t> team” som arbetat med Vasa Cup</a:t>
            </a:r>
          </a:p>
          <a:p>
            <a:pPr lvl="1"/>
            <a:r>
              <a:rPr lang="sv-SE" dirty="0"/>
              <a:t>Linda Nilsson –cup ansvarig 070-2406902</a:t>
            </a:r>
          </a:p>
          <a:p>
            <a:pPr lvl="1"/>
            <a:r>
              <a:rPr lang="sv-SE" dirty="0"/>
              <a:t>Sandra Högman – kiosk/lotteri/</a:t>
            </a:r>
            <a:r>
              <a:rPr lang="sv-SE" dirty="0" err="1"/>
              <a:t>hamburgeri</a:t>
            </a:r>
            <a:r>
              <a:rPr lang="sv-SE" dirty="0"/>
              <a:t> schema</a:t>
            </a:r>
          </a:p>
          <a:p>
            <a:pPr lvl="1"/>
            <a:r>
              <a:rPr lang="sv-SE" dirty="0"/>
              <a:t>Linda Almqvist – </a:t>
            </a:r>
            <a:r>
              <a:rPr lang="sv-SE" dirty="0" err="1"/>
              <a:t>sekreteriat</a:t>
            </a:r>
            <a:r>
              <a:rPr lang="sv-SE" dirty="0"/>
              <a:t>/sarg</a:t>
            </a:r>
          </a:p>
          <a:p>
            <a:pPr lvl="1"/>
            <a:r>
              <a:rPr lang="sv-SE" dirty="0"/>
              <a:t>Jonas Backlund – </a:t>
            </a:r>
            <a:r>
              <a:rPr lang="sv-SE" dirty="0" err="1"/>
              <a:t>lagvärdar</a:t>
            </a:r>
            <a:endParaRPr lang="sv-SE" dirty="0"/>
          </a:p>
          <a:p>
            <a:pPr lvl="1"/>
            <a:r>
              <a:rPr lang="sv-SE" dirty="0"/>
              <a:t>Kristoffer Eklund – </a:t>
            </a:r>
            <a:r>
              <a:rPr lang="sv-SE" dirty="0" err="1"/>
              <a:t>spons</a:t>
            </a:r>
            <a:r>
              <a:rPr lang="sv-SE" dirty="0"/>
              <a:t>/lotteri</a:t>
            </a:r>
          </a:p>
          <a:p>
            <a:pPr lvl="1"/>
            <a:r>
              <a:rPr lang="sv-SE" dirty="0"/>
              <a:t>Magnus Jonsson – </a:t>
            </a:r>
            <a:r>
              <a:rPr lang="sv-SE" dirty="0" err="1"/>
              <a:t>spons</a:t>
            </a:r>
            <a:r>
              <a:rPr lang="sv-SE" dirty="0"/>
              <a:t>/lotteri</a:t>
            </a:r>
          </a:p>
          <a:p>
            <a:pPr lvl="1"/>
            <a:r>
              <a:rPr lang="sv-SE" dirty="0"/>
              <a:t>Weronica </a:t>
            </a:r>
            <a:r>
              <a:rPr lang="sv-SE" dirty="0" err="1"/>
              <a:t>Gullback</a:t>
            </a:r>
            <a:r>
              <a:rPr lang="sv-SE" dirty="0"/>
              <a:t> - lagledare</a:t>
            </a:r>
          </a:p>
          <a:p>
            <a:r>
              <a:rPr lang="sv-SE" dirty="0"/>
              <a:t>Deltagande lag</a:t>
            </a:r>
          </a:p>
          <a:p>
            <a:r>
              <a:rPr lang="sv-SE" dirty="0"/>
              <a:t>Vad kommer hända under cupen?</a:t>
            </a:r>
          </a:p>
          <a:p>
            <a:endParaRPr lang="sv-S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5ABE8BD-807D-4D43-80C9-AB2FB2FBEB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025" y="2717211"/>
            <a:ext cx="3705466" cy="1423578"/>
          </a:xfrm>
          <a:solidFill>
            <a:schemeClr val="bg1"/>
          </a:solidFill>
          <a:effectLst>
            <a:softEdge rad="12700"/>
          </a:effectLst>
        </p:spPr>
        <p:txBody>
          <a:bodyPr vert="horz"/>
          <a:lstStyle/>
          <a:p>
            <a:r>
              <a:rPr lang="sv-SE" dirty="0" err="1"/>
              <a:t>AgendaAgenda</a:t>
            </a:r>
            <a:endParaRPr lang="sv-S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62AD86-8A5F-4C63-836D-749E1276E58F}"/>
              </a:ext>
            </a:extLst>
          </p:cNvPr>
          <p:cNvSpPr txBox="1"/>
          <p:nvPr/>
        </p:nvSpPr>
        <p:spPr>
          <a:xfrm>
            <a:off x="-90557" y="0"/>
            <a:ext cx="4740415" cy="6858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36000" rIns="216000" bIns="36000" rtlCol="0">
            <a:spAutoFit/>
          </a:bodyPr>
          <a:lstStyle/>
          <a:p>
            <a:pPr>
              <a:lnSpc>
                <a:spcPct val="130000"/>
              </a:lnSpc>
              <a:spcBef>
                <a:spcPts val="1000"/>
              </a:spcBef>
            </a:pPr>
            <a:endParaRPr lang="sv-SE" sz="1400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1C47984-2584-4E7C-A8E7-04A758A6B41C}"/>
              </a:ext>
            </a:extLst>
          </p:cNvPr>
          <p:cNvSpPr txBox="1"/>
          <p:nvPr/>
        </p:nvSpPr>
        <p:spPr>
          <a:xfrm>
            <a:off x="200025" y="2524125"/>
            <a:ext cx="4000500" cy="1369405"/>
          </a:xfrm>
          <a:prstGeom prst="rect">
            <a:avLst/>
          </a:prstGeom>
          <a:noFill/>
        </p:spPr>
        <p:txBody>
          <a:bodyPr wrap="square" lIns="0" tIns="36000" rIns="216000" bIns="36000" rtlCol="0">
            <a:spAutoFit/>
          </a:bodyPr>
          <a:lstStyle/>
          <a:p>
            <a:pPr>
              <a:lnSpc>
                <a:spcPct val="130000"/>
              </a:lnSpc>
              <a:spcBef>
                <a:spcPts val="1000"/>
              </a:spcBef>
            </a:pPr>
            <a:r>
              <a:rPr lang="sv-SE" sz="7200" dirty="0">
                <a:solidFill>
                  <a:schemeClr val="bg1"/>
                </a:solidFill>
              </a:rPr>
              <a:t>Agenda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C649955A-9D20-4A92-9924-057EBDC37C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8271" y="-123824"/>
            <a:ext cx="1924050" cy="192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86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80A2A32-D921-4D5D-A989-888786299A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180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80A2A32-D921-4D5D-A989-888786299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C649955A-9D20-4A92-9924-057EBDC37C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150" y="37895"/>
            <a:ext cx="4102683" cy="4102683"/>
          </a:xfrm>
          <a:prstGeom prst="rect">
            <a:avLst/>
          </a:prstGeom>
        </p:spPr>
      </p:pic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C8FBFAB4-D274-46FE-B5BA-A337DDC02F7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6751" y="936731"/>
            <a:ext cx="2489544" cy="2609652"/>
          </a:xfrm>
          <a:prstGeom prst="rect">
            <a:avLst/>
          </a:prstGeom>
        </p:spPr>
      </p:pic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5E05B0BD-D549-4F9D-A0FF-EC716C80675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9786" y="1060827"/>
            <a:ext cx="2420089" cy="2213934"/>
          </a:xfrm>
          <a:prstGeom prst="rect">
            <a:avLst/>
          </a:prstGeom>
        </p:spPr>
      </p:pic>
      <p:pic>
        <p:nvPicPr>
          <p:cNvPr id="17" name="Picture 1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9A49D93F-D64A-4A11-9DD7-5BA16507081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6610" y="3962610"/>
            <a:ext cx="1924050" cy="2649124"/>
          </a:xfrm>
          <a:prstGeom prst="rect">
            <a:avLst/>
          </a:prstGeom>
        </p:spPr>
      </p:pic>
      <p:pic>
        <p:nvPicPr>
          <p:cNvPr id="19" name="Picture 18" descr="Logo, company name&#10;&#10;Description automatically generated">
            <a:extLst>
              <a:ext uri="{FF2B5EF4-FFF2-40B4-BE49-F238E27FC236}">
                <a16:creationId xmlns:a16="http://schemas.microsoft.com/office/drawing/2014/main" id="{8C18FA51-E86E-4E06-88E3-860A8EA3C14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655" y="4140578"/>
            <a:ext cx="2090470" cy="2090470"/>
          </a:xfrm>
          <a:prstGeom prst="rect">
            <a:avLst/>
          </a:prstGeom>
        </p:spPr>
      </p:pic>
      <p:pic>
        <p:nvPicPr>
          <p:cNvPr id="21" name="Picture 20" descr="Logo&#10;&#10;Description automatically generated">
            <a:extLst>
              <a:ext uri="{FF2B5EF4-FFF2-40B4-BE49-F238E27FC236}">
                <a16:creationId xmlns:a16="http://schemas.microsoft.com/office/drawing/2014/main" id="{6EEA0DC5-C517-47B7-AB0E-27B092E7C7F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7949" y="3801283"/>
            <a:ext cx="2314576" cy="2903301"/>
          </a:xfrm>
          <a:prstGeom prst="rect">
            <a:avLst/>
          </a:prstGeom>
        </p:spPr>
      </p:pic>
      <p:pic>
        <p:nvPicPr>
          <p:cNvPr id="23" name="Picture 22" descr="Logo&#10;&#10;Description automatically generated">
            <a:extLst>
              <a:ext uri="{FF2B5EF4-FFF2-40B4-BE49-F238E27FC236}">
                <a16:creationId xmlns:a16="http://schemas.microsoft.com/office/drawing/2014/main" id="{3FEC3D4E-823E-4CE2-9001-50FC3BE1347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5314" y="4043496"/>
            <a:ext cx="2674695" cy="2284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388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B42E5D3-807B-4D40-8CCB-D6A379705A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1122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B42E5D3-807B-4D40-8CCB-D6A379705A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7EDEE15-7BF9-41D5-A013-79012236B0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59989BE-49FA-473F-87F4-4CF5DCE1E4FC}"/>
              </a:ext>
            </a:extLst>
          </p:cNvPr>
          <p:cNvSpPr txBox="1"/>
          <p:nvPr/>
        </p:nvSpPr>
        <p:spPr>
          <a:xfrm>
            <a:off x="104775" y="6507948"/>
            <a:ext cx="1533525" cy="324888"/>
          </a:xfrm>
          <a:prstGeom prst="rect">
            <a:avLst/>
          </a:prstGeom>
          <a:solidFill>
            <a:schemeClr val="bg1"/>
          </a:solidFill>
        </p:spPr>
        <p:txBody>
          <a:bodyPr wrap="square" lIns="0" tIns="36000" rIns="216000" bIns="36000" rtlCol="0">
            <a:spAutoFit/>
          </a:bodyPr>
          <a:lstStyle/>
          <a:p>
            <a:pPr>
              <a:lnSpc>
                <a:spcPct val="130000"/>
              </a:lnSpc>
              <a:spcBef>
                <a:spcPts val="1000"/>
              </a:spcBef>
            </a:pPr>
            <a:endParaRPr lang="sv-SE" sz="1400" b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49084F6-E705-4624-8F34-47720BA49E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7705" y="23642"/>
            <a:ext cx="5989520" cy="648430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C514340-9B12-4E79-9BD5-5DEFC46F749B}"/>
              </a:ext>
            </a:extLst>
          </p:cNvPr>
          <p:cNvSpPr txBox="1"/>
          <p:nvPr/>
        </p:nvSpPr>
        <p:spPr>
          <a:xfrm>
            <a:off x="335279" y="1211807"/>
            <a:ext cx="5989520" cy="4107975"/>
          </a:xfrm>
          <a:prstGeom prst="rect">
            <a:avLst/>
          </a:prstGeom>
          <a:noFill/>
        </p:spPr>
        <p:txBody>
          <a:bodyPr wrap="square" lIns="0" tIns="36000" rIns="216000" bIns="36000" rtlCol="0">
            <a:spAutoFit/>
          </a:bodyPr>
          <a:lstStyle/>
          <a:p>
            <a:pPr marL="76200" marR="220980" algn="ctr">
              <a:lnSpc>
                <a:spcPct val="120000"/>
              </a:lnSpc>
              <a:spcAft>
                <a:spcPts val="0"/>
              </a:spcAft>
            </a:pP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Vi hoppas att</a:t>
            </a:r>
            <a:r>
              <a:rPr lang="sv-SE" sz="1400" spc="5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ni och alla</a:t>
            </a:r>
            <a:r>
              <a:rPr lang="sv-SE" sz="1400" spc="5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spelare kommer att</a:t>
            </a:r>
            <a:r>
              <a:rPr lang="sv-SE" sz="1400" spc="5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ha en</a:t>
            </a:r>
            <a:r>
              <a:rPr lang="sv-SE" sz="1400" spc="5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riktigt rolig och</a:t>
            </a:r>
            <a:r>
              <a:rPr lang="sv-SE" sz="1400" spc="5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minnesvärd dag under</a:t>
            </a:r>
            <a:r>
              <a:rPr lang="sv-SE" sz="1400" spc="5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Vasa Cup. Ett led i att det ska bli en positiv upplevelse för spelarna är att vi som</a:t>
            </a:r>
            <a:r>
              <a:rPr lang="sv-SE" sz="1400" spc="-32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    </a:t>
            </a: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ledare och föräldrar som stöttar</a:t>
            </a:r>
            <a:r>
              <a:rPr lang="sv-SE" sz="1400" spc="5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dem och fyller</a:t>
            </a:r>
            <a:r>
              <a:rPr lang="sv-SE" sz="1400" spc="5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på deras ”må</a:t>
            </a:r>
            <a:r>
              <a:rPr lang="sv-SE" sz="1400" spc="5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bra konto” och</a:t>
            </a:r>
            <a:r>
              <a:rPr lang="sv-SE" sz="1400" spc="5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uppträder som</a:t>
            </a:r>
            <a:r>
              <a:rPr lang="sv-SE" sz="1400" spc="5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förebilder för våra barn i och runt matcherna.</a:t>
            </a:r>
            <a:endParaRPr lang="sv-SE" sz="14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>
              <a:spcBef>
                <a:spcPts val="25"/>
              </a:spcBef>
            </a:pPr>
            <a:r>
              <a:rPr lang="sv-SE" sz="1400" dirty="0">
                <a:effectLst/>
                <a:latin typeface="Arial" panose="020B0604020202020204" pitchFamily="34" charset="0"/>
                <a:ea typeface="Arial" panose="020B0604020202020204" pitchFamily="34" charset="0"/>
              </a:rPr>
              <a:t> </a:t>
            </a:r>
          </a:p>
          <a:p>
            <a:pPr marL="76200"/>
            <a:r>
              <a:rPr lang="sv-SE" sz="1400" b="1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Vi vill därför</a:t>
            </a:r>
            <a:r>
              <a:rPr lang="sv-SE" sz="1400" b="1" spc="5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sv-SE" sz="1400" b="1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uppmana er:</a:t>
            </a:r>
            <a:endParaRPr lang="sv-SE" sz="1400" b="1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342900" lvl="0" indent="-342900">
              <a:spcBef>
                <a:spcPts val="270"/>
              </a:spcBef>
              <a:spcAft>
                <a:spcPts val="0"/>
              </a:spcAft>
              <a:buClr>
                <a:srgbClr val="323232"/>
              </a:buClr>
              <a:buSzPts val="1200"/>
              <a:buFont typeface="Arial" panose="020B0604020202020204" pitchFamily="34" charset="0"/>
              <a:buChar char="-"/>
              <a:tabLst>
                <a:tab pos="603250" algn="l"/>
                <a:tab pos="603885" algn="l"/>
              </a:tabLst>
            </a:pP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Att heja på</a:t>
            </a:r>
            <a:r>
              <a:rPr lang="sv-SE" sz="1400" spc="5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era barn i</a:t>
            </a:r>
            <a:r>
              <a:rPr lang="sv-SE" sz="1400" spc="5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med och motgång</a:t>
            </a:r>
            <a:endParaRPr lang="sv-SE" sz="14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342900" lvl="0" indent="-342900">
              <a:spcBef>
                <a:spcPts val="270"/>
              </a:spcBef>
              <a:spcAft>
                <a:spcPts val="0"/>
              </a:spcAft>
              <a:buClr>
                <a:srgbClr val="323232"/>
              </a:buClr>
              <a:buSzPts val="1200"/>
              <a:buFont typeface="Arial" panose="020B0604020202020204" pitchFamily="34" charset="0"/>
              <a:buChar char="-"/>
              <a:tabLst>
                <a:tab pos="603250" algn="l"/>
                <a:tab pos="603885" algn="l"/>
              </a:tabLst>
            </a:pP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Att som förälder</a:t>
            </a:r>
            <a:r>
              <a:rPr lang="sv-SE" sz="1400" spc="5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inte coacha</a:t>
            </a:r>
            <a:r>
              <a:rPr lang="sv-SE" sz="1400" spc="5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era barn</a:t>
            </a:r>
            <a:r>
              <a:rPr lang="sv-SE" sz="1400" spc="5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från </a:t>
            </a:r>
            <a:r>
              <a:rPr lang="sv-SE" sz="1400" dirty="0" err="1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rinkside</a:t>
            </a:r>
            <a:endParaRPr lang="sv-SE" sz="14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342900" lvl="0" indent="-342900">
              <a:spcBef>
                <a:spcPts val="275"/>
              </a:spcBef>
              <a:spcAft>
                <a:spcPts val="0"/>
              </a:spcAft>
              <a:buClr>
                <a:srgbClr val="323232"/>
              </a:buClr>
              <a:buSzPts val="1200"/>
              <a:buFont typeface="Arial" panose="020B0604020202020204" pitchFamily="34" charset="0"/>
              <a:buChar char="-"/>
              <a:tabLst>
                <a:tab pos="603250" algn="l"/>
                <a:tab pos="603885" algn="l"/>
              </a:tabLst>
            </a:pP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Att stötta våra</a:t>
            </a:r>
            <a:r>
              <a:rPr lang="sv-SE" sz="1400" spc="5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domare i</a:t>
            </a:r>
            <a:r>
              <a:rPr lang="sv-SE" sz="1400" spc="5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deras svåra</a:t>
            </a:r>
            <a:r>
              <a:rPr lang="sv-SE" sz="1400" spc="5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och viktiga</a:t>
            </a:r>
            <a:r>
              <a:rPr lang="sv-SE" sz="1400" spc="5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roll som matchledare</a:t>
            </a:r>
            <a:endParaRPr lang="sv-SE" sz="1400" dirty="0"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342900" lvl="0" indent="-342900">
              <a:spcBef>
                <a:spcPts val="275"/>
              </a:spcBef>
              <a:spcAft>
                <a:spcPts val="0"/>
              </a:spcAft>
              <a:buClr>
                <a:srgbClr val="323232"/>
              </a:buClr>
              <a:buSzPts val="1200"/>
              <a:buFont typeface="Arial" panose="020B0604020202020204" pitchFamily="34" charset="0"/>
              <a:buChar char="-"/>
              <a:tabLst>
                <a:tab pos="603250" algn="l"/>
                <a:tab pos="603885" algn="l"/>
              </a:tabLst>
            </a:pP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Att uppträda juste mot motståndarnas spelare, ledare och föräldrar</a:t>
            </a:r>
            <a:r>
              <a:rPr lang="sv-SE" sz="1400" spc="-32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</a:p>
          <a:p>
            <a:pPr marL="342900" lvl="0" indent="-342900" algn="ctr">
              <a:spcBef>
                <a:spcPts val="275"/>
              </a:spcBef>
              <a:spcAft>
                <a:spcPts val="0"/>
              </a:spcAft>
              <a:buClr>
                <a:srgbClr val="323232"/>
              </a:buClr>
              <a:buSzPts val="1200"/>
              <a:buFont typeface="Arial" panose="020B0604020202020204" pitchFamily="34" charset="0"/>
              <a:buChar char="-"/>
              <a:tabLst>
                <a:tab pos="603250" algn="l"/>
                <a:tab pos="603885" algn="l"/>
              </a:tabLst>
            </a:pPr>
            <a:endParaRPr lang="sv-SE" sz="1400" spc="-320" dirty="0">
              <a:solidFill>
                <a:srgbClr val="323232"/>
              </a:solidFill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lvl="0" algn="ctr">
              <a:spcBef>
                <a:spcPts val="275"/>
              </a:spcBef>
              <a:spcAft>
                <a:spcPts val="0"/>
              </a:spcAft>
              <a:buClr>
                <a:srgbClr val="323232"/>
              </a:buClr>
              <a:buSzPts val="1200"/>
              <a:tabLst>
                <a:tab pos="603250" algn="l"/>
                <a:tab pos="603885" algn="l"/>
              </a:tabLst>
            </a:pP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Glöm inte, barnen spelar</a:t>
            </a:r>
            <a:r>
              <a:rPr lang="sv-SE" sz="1400" spc="5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ishockey för att</a:t>
            </a:r>
            <a:r>
              <a:rPr lang="sv-SE" sz="1400" spc="5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det är roligt</a:t>
            </a:r>
            <a:r>
              <a:rPr lang="sv-SE" sz="1400" spc="5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och utvecklande!</a:t>
            </a:r>
          </a:p>
          <a:p>
            <a:pPr lvl="0" algn="ctr">
              <a:spcBef>
                <a:spcPts val="275"/>
              </a:spcBef>
              <a:spcAft>
                <a:spcPts val="0"/>
              </a:spcAft>
              <a:buClr>
                <a:srgbClr val="323232"/>
              </a:buClr>
              <a:buSzPts val="1200"/>
              <a:tabLst>
                <a:tab pos="603250" algn="l"/>
                <a:tab pos="603885" algn="l"/>
              </a:tabLst>
            </a:pPr>
            <a:endParaRPr lang="sv-SE" sz="14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 marL="76200" algn="ctr">
              <a:lnSpc>
                <a:spcPts val="1240"/>
              </a:lnSpc>
            </a:pP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Vi hoppas med</a:t>
            </a:r>
            <a:r>
              <a:rPr lang="sv-SE" sz="1400" spc="5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detta att alla</a:t>
            </a:r>
            <a:r>
              <a:rPr lang="sv-SE" sz="1400" spc="5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ska få</a:t>
            </a:r>
            <a:r>
              <a:rPr lang="sv-SE" sz="1400" spc="5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sv-SE" sz="1400" dirty="0">
                <a:solidFill>
                  <a:srgbClr val="1F497D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en </a:t>
            </a: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riktigt härlig</a:t>
            </a:r>
            <a:r>
              <a:rPr lang="sv-SE" sz="1400" spc="5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och minnesvärd</a:t>
            </a:r>
            <a:r>
              <a:rPr lang="sv-SE" sz="1400" spc="5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 </a:t>
            </a:r>
            <a:r>
              <a:rPr lang="sv-SE" sz="1400" dirty="0">
                <a:solidFill>
                  <a:srgbClr val="323232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</a:rPr>
              <a:t>dag</a:t>
            </a:r>
            <a:endParaRPr lang="sv-SE" sz="1400" dirty="0">
              <a:effectLst/>
              <a:latin typeface="Arial" panose="020B0604020202020204" pitchFamily="34" charset="0"/>
              <a:ea typeface="Arial" panose="020B0604020202020204" pitchFamily="34" charset="0"/>
            </a:endParaRPr>
          </a:p>
          <a:p>
            <a:pPr>
              <a:lnSpc>
                <a:spcPct val="130000"/>
              </a:lnSpc>
              <a:spcBef>
                <a:spcPts val="1000"/>
              </a:spcBef>
            </a:pPr>
            <a:endParaRPr lang="sv-SE" sz="1400" b="1" dirty="0"/>
          </a:p>
        </p:txBody>
      </p:sp>
    </p:spTree>
    <p:extLst>
      <p:ext uri="{BB962C8B-B14F-4D97-AF65-F5344CB8AC3E}">
        <p14:creationId xmlns:p14="http://schemas.microsoft.com/office/powerpoint/2010/main" val="3984406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80A2A32-D921-4D5D-A989-888786299A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80A2A32-D921-4D5D-A989-888786299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C13A05C-1F3E-4E4A-8C5B-27B7A54078D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sv-SE" dirty="0"/>
              <a:t>Kioskpass, </a:t>
            </a:r>
            <a:r>
              <a:rPr lang="sv-SE" dirty="0" err="1"/>
              <a:t>hamburgergrillning</a:t>
            </a:r>
            <a:r>
              <a:rPr lang="sv-SE" dirty="0"/>
              <a:t>/försäljning</a:t>
            </a:r>
          </a:p>
          <a:p>
            <a:r>
              <a:rPr lang="sv-SE" dirty="0" err="1"/>
              <a:t>Lagvärd</a:t>
            </a:r>
            <a:endParaRPr lang="sv-SE" dirty="0"/>
          </a:p>
          <a:p>
            <a:r>
              <a:rPr lang="sv-SE" dirty="0"/>
              <a:t>Lotteri, fiskdamm, puckkastning</a:t>
            </a:r>
          </a:p>
          <a:p>
            <a:r>
              <a:rPr lang="sv-SE" dirty="0"/>
              <a:t>Grovstädning läktare och hall</a:t>
            </a:r>
          </a:p>
          <a:p>
            <a:r>
              <a:rPr lang="sv-SE" dirty="0"/>
              <a:t>Sjukvårdare</a:t>
            </a:r>
          </a:p>
          <a:p>
            <a:pPr marL="0" indent="0">
              <a:buNone/>
            </a:pPr>
            <a:endParaRPr lang="sv-SE" dirty="0"/>
          </a:p>
          <a:p>
            <a:pPr marL="0" indent="0">
              <a:buNone/>
            </a:pPr>
            <a:r>
              <a:rPr lang="sv-SE" dirty="0"/>
              <a:t>Arbetsschema, lagvärdsinfo och spelprogram kommer läggas ut på Laget måndag 15e nov.</a:t>
            </a:r>
          </a:p>
          <a:p>
            <a:pPr marL="0" indent="0">
              <a:buNone/>
            </a:pPr>
            <a:endParaRPr lang="sv-SE" dirty="0"/>
          </a:p>
          <a:p>
            <a:endParaRPr lang="sv-S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5ABE8BD-807D-4D43-80C9-AB2FB2FBEB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025" y="2717211"/>
            <a:ext cx="3705466" cy="1423578"/>
          </a:xfrm>
          <a:solidFill>
            <a:schemeClr val="bg1"/>
          </a:solidFill>
          <a:effectLst>
            <a:softEdge rad="12700"/>
          </a:effectLst>
        </p:spPr>
        <p:txBody>
          <a:bodyPr vert="horz"/>
          <a:lstStyle/>
          <a:p>
            <a:r>
              <a:rPr lang="sv-SE" dirty="0" err="1"/>
              <a:t>AgendaAgenda</a:t>
            </a:r>
            <a:endParaRPr lang="sv-S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62AD86-8A5F-4C63-836D-749E1276E58F}"/>
              </a:ext>
            </a:extLst>
          </p:cNvPr>
          <p:cNvSpPr txBox="1"/>
          <p:nvPr/>
        </p:nvSpPr>
        <p:spPr>
          <a:xfrm>
            <a:off x="-90557" y="0"/>
            <a:ext cx="4740415" cy="6858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36000" rIns="216000" bIns="36000" rtlCol="0">
            <a:spAutoFit/>
          </a:bodyPr>
          <a:lstStyle/>
          <a:p>
            <a:pPr>
              <a:lnSpc>
                <a:spcPct val="130000"/>
              </a:lnSpc>
              <a:spcBef>
                <a:spcPts val="1000"/>
              </a:spcBef>
            </a:pPr>
            <a:endParaRPr lang="sv-SE" sz="1400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1C47984-2584-4E7C-A8E7-04A758A6B41C}"/>
              </a:ext>
            </a:extLst>
          </p:cNvPr>
          <p:cNvSpPr txBox="1"/>
          <p:nvPr/>
        </p:nvSpPr>
        <p:spPr>
          <a:xfrm>
            <a:off x="200025" y="2524125"/>
            <a:ext cx="4000500" cy="1369405"/>
          </a:xfrm>
          <a:prstGeom prst="rect">
            <a:avLst/>
          </a:prstGeom>
          <a:noFill/>
        </p:spPr>
        <p:txBody>
          <a:bodyPr wrap="square" lIns="0" tIns="36000" rIns="216000" bIns="36000" rtlCol="0">
            <a:spAutoFit/>
          </a:bodyPr>
          <a:lstStyle/>
          <a:p>
            <a:pPr>
              <a:lnSpc>
                <a:spcPct val="130000"/>
              </a:lnSpc>
              <a:spcBef>
                <a:spcPts val="1000"/>
              </a:spcBef>
            </a:pPr>
            <a:r>
              <a:rPr lang="sv-SE" sz="7200" dirty="0">
                <a:solidFill>
                  <a:schemeClr val="bg1"/>
                </a:solidFill>
              </a:rPr>
              <a:t>Att göra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C649955A-9D20-4A92-9924-057EBDC37CBF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41" t="10183" r="9901" b="5399"/>
          <a:stretch/>
        </p:blipFill>
        <p:spPr>
          <a:xfrm>
            <a:off x="10572750" y="38100"/>
            <a:ext cx="1619250" cy="1624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7025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80A2A32-D921-4D5D-A989-888786299A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80A2A32-D921-4D5D-A989-888786299A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2" name="Text Placeholder 1">
            <a:extLst>
              <a:ext uri="{FF2B5EF4-FFF2-40B4-BE49-F238E27FC236}">
                <a16:creationId xmlns:a16="http://schemas.microsoft.com/office/drawing/2014/main" id="{EC13A05C-1F3E-4E4A-8C5B-27B7A54078D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sv-SE" sz="2400" dirty="0"/>
              <a:t>Lunch/Middag – Etage</a:t>
            </a:r>
          </a:p>
          <a:p>
            <a:pPr lvl="1"/>
            <a:r>
              <a:rPr lang="sv-SE" sz="1800" dirty="0"/>
              <a:t>Meddela Linda om ni önskar lunch alt middagsbiljett någon av dagarna.</a:t>
            </a:r>
          </a:p>
          <a:p>
            <a:r>
              <a:rPr lang="sv-SE" sz="2400" dirty="0"/>
              <a:t>Timrå IK-Oskarshamn</a:t>
            </a:r>
          </a:p>
          <a:p>
            <a:pPr lvl="1"/>
            <a:r>
              <a:rPr lang="sv-SE" sz="1800" dirty="0"/>
              <a:t>Meddela Linda senast måndag15e nov om ni önskar extra biljett för att följa med och se Timrå matchen. Pris 80kr/biljett</a:t>
            </a:r>
          </a:p>
          <a:p>
            <a:pPr marL="598488" lvl="1" indent="0">
              <a:buNone/>
            </a:pPr>
            <a:endParaRPr lang="sv-SE" sz="1800" dirty="0"/>
          </a:p>
          <a:p>
            <a:pPr marL="598488" lvl="1" indent="0">
              <a:buNone/>
            </a:pPr>
            <a:r>
              <a:rPr lang="sv-SE" sz="1800" dirty="0"/>
              <a:t>Linda mobil: 070-2406902</a:t>
            </a:r>
          </a:p>
          <a:p>
            <a:endParaRPr lang="sv-S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5ABE8BD-807D-4D43-80C9-AB2FB2FBEB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025" y="2717211"/>
            <a:ext cx="3705466" cy="1423578"/>
          </a:xfrm>
          <a:solidFill>
            <a:schemeClr val="bg1"/>
          </a:solidFill>
          <a:effectLst>
            <a:softEdge rad="12700"/>
          </a:effectLst>
        </p:spPr>
        <p:txBody>
          <a:bodyPr vert="horz"/>
          <a:lstStyle/>
          <a:p>
            <a:r>
              <a:rPr lang="sv-SE" dirty="0" err="1"/>
              <a:t>AgendaAgenda</a:t>
            </a:r>
            <a:endParaRPr lang="sv-SE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62AD86-8A5F-4C63-836D-749E1276E58F}"/>
              </a:ext>
            </a:extLst>
          </p:cNvPr>
          <p:cNvSpPr txBox="1"/>
          <p:nvPr/>
        </p:nvSpPr>
        <p:spPr>
          <a:xfrm>
            <a:off x="-90557" y="0"/>
            <a:ext cx="4740415" cy="6858000"/>
          </a:xfrm>
          <a:prstGeom prst="rect">
            <a:avLst/>
          </a:prstGeom>
          <a:solidFill>
            <a:schemeClr val="tx2"/>
          </a:solidFill>
        </p:spPr>
        <p:txBody>
          <a:bodyPr wrap="square" lIns="0" tIns="36000" rIns="216000" bIns="36000" rtlCol="0">
            <a:spAutoFit/>
          </a:bodyPr>
          <a:lstStyle/>
          <a:p>
            <a:pPr>
              <a:lnSpc>
                <a:spcPct val="130000"/>
              </a:lnSpc>
              <a:spcBef>
                <a:spcPts val="1000"/>
              </a:spcBef>
            </a:pPr>
            <a:endParaRPr lang="sv-SE" sz="1400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1C47984-2584-4E7C-A8E7-04A758A6B41C}"/>
              </a:ext>
            </a:extLst>
          </p:cNvPr>
          <p:cNvSpPr txBox="1"/>
          <p:nvPr/>
        </p:nvSpPr>
        <p:spPr>
          <a:xfrm>
            <a:off x="200025" y="2524125"/>
            <a:ext cx="4000500" cy="1369405"/>
          </a:xfrm>
          <a:prstGeom prst="rect">
            <a:avLst/>
          </a:prstGeom>
          <a:noFill/>
        </p:spPr>
        <p:txBody>
          <a:bodyPr wrap="square" lIns="0" tIns="36000" rIns="216000" bIns="36000" rtlCol="0">
            <a:spAutoFit/>
          </a:bodyPr>
          <a:lstStyle/>
          <a:p>
            <a:pPr>
              <a:lnSpc>
                <a:spcPct val="130000"/>
              </a:lnSpc>
              <a:spcBef>
                <a:spcPts val="1000"/>
              </a:spcBef>
            </a:pPr>
            <a:r>
              <a:rPr lang="sv-SE" sz="7200" dirty="0">
                <a:solidFill>
                  <a:schemeClr val="bg1"/>
                </a:solidFill>
              </a:rPr>
              <a:t>Möjlighet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C649955A-9D20-4A92-9924-057EBDC37CBF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41" t="10183" r="9901" b="5399"/>
          <a:stretch/>
        </p:blipFill>
        <p:spPr>
          <a:xfrm>
            <a:off x="10572750" y="38100"/>
            <a:ext cx="1619250" cy="1624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260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A8CE972-0705-4981-9E6C-C2883EF1A5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4472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A8CE972-0705-4981-9E6C-C2883EF1A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C96695B-88A3-4801-B0FE-B6515F1BEA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8E0476E-E426-47F3-86F1-FFD4F15E8C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2700"/>
            <a:ext cx="12192000" cy="676393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C2B9BC4-F72D-4D43-963A-D578C6C5032E}"/>
              </a:ext>
            </a:extLst>
          </p:cNvPr>
          <p:cNvSpPr txBox="1"/>
          <p:nvPr/>
        </p:nvSpPr>
        <p:spPr>
          <a:xfrm>
            <a:off x="133165" y="6106030"/>
            <a:ext cx="10539867" cy="576944"/>
          </a:xfrm>
          <a:prstGeom prst="rect">
            <a:avLst/>
          </a:prstGeom>
          <a:noFill/>
        </p:spPr>
        <p:txBody>
          <a:bodyPr wrap="square" lIns="0" tIns="36000" rIns="216000" bIns="36000" rtlCol="0">
            <a:spAutoFit/>
          </a:bodyPr>
          <a:lstStyle/>
          <a:p>
            <a:pPr>
              <a:lnSpc>
                <a:spcPct val="130000"/>
              </a:lnSpc>
              <a:spcBef>
                <a:spcPts val="1000"/>
              </a:spcBef>
            </a:pPr>
            <a:r>
              <a:rPr lang="sv-SE" sz="2800" b="1" dirty="0">
                <a:solidFill>
                  <a:schemeClr val="bg1"/>
                </a:solidFill>
              </a:rPr>
              <a:t>Tillsammans skapar vi en magiskt rolig cup för alla deltagare!</a:t>
            </a:r>
            <a:endParaRPr lang="sv-SE" sz="2800" b="1" dirty="0"/>
          </a:p>
        </p:txBody>
      </p:sp>
    </p:spTree>
    <p:extLst>
      <p:ext uri="{BB962C8B-B14F-4D97-AF65-F5344CB8AC3E}">
        <p14:creationId xmlns:p14="http://schemas.microsoft.com/office/powerpoint/2010/main" val="1745021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ermobil Template Slides">
  <a:themeElements>
    <a:clrScheme name="Custom 66">
      <a:dk1>
        <a:srgbClr val="000000"/>
      </a:dk1>
      <a:lt1>
        <a:srgbClr val="FFFFFF"/>
      </a:lt1>
      <a:dk2>
        <a:srgbClr val="005CBE"/>
      </a:dk2>
      <a:lt2>
        <a:srgbClr val="D2F5FF"/>
      </a:lt2>
      <a:accent1>
        <a:srgbClr val="FF4912"/>
      </a:accent1>
      <a:accent2>
        <a:srgbClr val="EB589A"/>
      </a:accent2>
      <a:accent3>
        <a:srgbClr val="F7EB61"/>
      </a:accent3>
      <a:accent4>
        <a:srgbClr val="582483"/>
      </a:accent4>
      <a:accent5>
        <a:srgbClr val="14D990"/>
      </a:accent5>
      <a:accent6>
        <a:srgbClr val="D2F5FF"/>
      </a:accent6>
      <a:hlink>
        <a:srgbClr val="005CBE"/>
      </a:hlink>
      <a:folHlink>
        <a:srgbClr val="000000"/>
      </a:folHlink>
    </a:clrScheme>
    <a:fontScheme name="Arial-Times New Roman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wrap="square" lIns="0" tIns="0" rIns="0" bIns="0" rtlCol="0" anchor="t">
        <a:noAutofit/>
      </a:bodyPr>
      <a:lstStyle>
        <a:defPPr algn="ctr">
          <a:spcBef>
            <a:spcPts val="1000"/>
          </a:spcBef>
          <a:defRPr sz="1400" b="1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36000" rIns="216000" bIns="36000" rtlCol="0">
        <a:spAutoFit/>
      </a:bodyPr>
      <a:lstStyle>
        <a:defPPr>
          <a:lnSpc>
            <a:spcPct val="130000"/>
          </a:lnSpc>
          <a:spcBef>
            <a:spcPts val="1000"/>
          </a:spcBef>
          <a:defRPr sz="1400" b="1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0" id="{7139A701-F37B-4049-8626-9DE74A09484A}" vid="{E47F7F2B-26FD-4113-9C07-F80FB1B7765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KeywordTaxHTField xmlns="ba6925b8-b623-4c6a-90bc-0e562908fc56">
      <Terms xmlns="http://schemas.microsoft.com/office/infopath/2007/PartnerControls"/>
    </TaxKeywordTaxHTField>
    <TaxCatchAll xmlns="ba6925b8-b623-4c6a-90bc-0e562908fc56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Permobil Document" ma:contentTypeID="0x0101000FFBD4D3A82F324CA863535BF68521E301007D4DBD0AB74F6244952A0F41F8FD8FE1" ma:contentTypeVersion="9" ma:contentTypeDescription="" ma:contentTypeScope="" ma:versionID="e226b90547944ff82588f29543d72452">
  <xsd:schema xmlns:xsd="http://www.w3.org/2001/XMLSchema" xmlns:xs="http://www.w3.org/2001/XMLSchema" xmlns:p="http://schemas.microsoft.com/office/2006/metadata/properties" xmlns:ns2="ba6925b8-b623-4c6a-90bc-0e562908fc56" targetNamespace="http://schemas.microsoft.com/office/2006/metadata/properties" ma:root="true" ma:fieldsID="262f313d4be71500b70930ff26ad4240" ns2:_="">
    <xsd:import namespace="ba6925b8-b623-4c6a-90bc-0e562908fc56"/>
    <xsd:element name="properties">
      <xsd:complexType>
        <xsd:sequence>
          <xsd:element name="documentManagement">
            <xsd:complexType>
              <xsd:all>
                <xsd:element ref="ns2:TaxKeywordTaxHTField" minOccurs="0"/>
                <xsd:element ref="ns2:TaxCatchAll" minOccurs="0"/>
                <xsd:element ref="ns2:TaxCatchAllLabe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6925b8-b623-4c6a-90bc-0e562908fc56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8" nillable="true" ma:taxonomy="true" ma:internalName="TaxKeywordTaxHTField" ma:taxonomyFieldName="TaxKeyword" ma:displayName="Enterprise Keywords" ma:fieldId="{23f27201-bee3-471e-b2e7-b64fd8b7ca38}" ma:taxonomyMulti="true" ma:sspId="4a71ba27-f8dc-4020-b024-c79c48219ff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description="" ma:hidden="true" ma:list="{b8172797-d9ac-4deb-ab87-7a1c73578bb5}" ma:internalName="TaxCatchAll" ma:showField="CatchAllData" ma:web="20e9913b-61b3-45a5-ae5c-d73d9bc9875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description="" ma:hidden="true" ma:list="{b8172797-d9ac-4deb-ab87-7a1c73578bb5}" ma:internalName="TaxCatchAllLabel" ma:readOnly="true" ma:showField="CatchAllDataLabel" ma:web="20e9913b-61b3-45a5-ae5c-d73d9bc9875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haredContentType xmlns="Microsoft.SharePoint.Taxonomy.ContentTypeSync" SourceId="4a71ba27-f8dc-4020-b024-c79c48219ff0" ContentTypeId="0x0101000FFBD4D3A82F324CA863535BF68521E301" PreviousValue="false"/>
</file>

<file path=customXml/itemProps1.xml><?xml version="1.0" encoding="utf-8"?>
<ds:datastoreItem xmlns:ds="http://schemas.openxmlformats.org/officeDocument/2006/customXml" ds:itemID="{05097C82-329A-472C-9D2C-5AF9E3F89545}">
  <ds:schemaRefs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elements/1.1/"/>
    <ds:schemaRef ds:uri="http://purl.org/dc/terms/"/>
    <ds:schemaRef ds:uri="http://schemas.openxmlformats.org/package/2006/metadata/core-properties"/>
    <ds:schemaRef ds:uri="ba6925b8-b623-4c6a-90bc-0e562908fc56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A1EBBCF7-68BF-4B57-9DC3-DFA80173FD7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a6925b8-b623-4c6a-90bc-0e562908fc5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079EDFC-2323-43DF-BB10-0D57BCDB0B3D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8BC17686-8BF8-4ED2-8DBB-5E4C30410B6F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5</TotalTime>
  <Words>301</Words>
  <Application>Microsoft Office PowerPoint</Application>
  <PresentationFormat>Widescreen</PresentationFormat>
  <Paragraphs>45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System Font Regular</vt:lpstr>
      <vt:lpstr>Times New Roman</vt:lpstr>
      <vt:lpstr>Wingdings</vt:lpstr>
      <vt:lpstr>Permobil Template Slides</vt:lpstr>
      <vt:lpstr>think-cell Slide</vt:lpstr>
      <vt:lpstr>Vasa Cup</vt:lpstr>
      <vt:lpstr>AgendaAgenda</vt:lpstr>
      <vt:lpstr>PowerPoint Presentation</vt:lpstr>
      <vt:lpstr>PowerPoint Presentation</vt:lpstr>
      <vt:lpstr>AgendaAgenda</vt:lpstr>
      <vt:lpstr>AgendaAgenda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asa Cup</dc:title>
  <dc:subject/>
  <dc:creator>Linda Nilsson</dc:creator>
  <cp:keywords/>
  <dc:description/>
  <cp:lastModifiedBy>Linda Nilsson</cp:lastModifiedBy>
  <cp:revision>2</cp:revision>
  <dcterms:created xsi:type="dcterms:W3CDTF">2021-11-10T17:21:18Z</dcterms:created>
  <dcterms:modified xsi:type="dcterms:W3CDTF">2021-11-15T20:35:1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FFBD4D3A82F324CA863535BF68521E301007D4DBD0AB74F6244952A0F41F8FD8FE1</vt:lpwstr>
  </property>
  <property fmtid="{D5CDD505-2E9C-101B-9397-08002B2CF9AE}" pid="3" name="TaxKeyword">
    <vt:lpwstr/>
  </property>
</Properties>
</file>